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drawings/drawing1.xml" ContentType="application/vnd.openxmlformats-officedocument.drawingml.chartshapes+xml"/>
  <Override PartName="/ppt/media/image15.svg" ContentType="image/svg+xml"/>
  <Override PartName="/ppt/media/image17.svg" ContentType="image/svg+xml"/>
  <Override PartName="/ppt/media/image19.svg" ContentType="image/svg+xml"/>
  <Override PartName="/ppt/media/image21.svg" ContentType="image/svg+xml"/>
  <Override PartName="/ppt/media/image23.svg" ContentType="image/svg+xml"/>
  <Override PartName="/ppt/media/image25.svg" ContentType="image/svg+xml"/>
  <Override PartName="/ppt/media/image27.svg" ContentType="image/svg+xml"/>
  <Override PartName="/ppt/media/image29.svg" ContentType="image/svg+xml"/>
  <Override PartName="/ppt/media/image31.svg" ContentType="image/svg+xml"/>
  <Override PartName="/ppt/media/image33.svg" ContentType="image/svg+xml"/>
  <Override PartName="/ppt/media/image35.svg" ContentType="image/svg+xml"/>
  <Override PartName="/ppt/media/image37.svg" ContentType="image/svg+xml"/>
  <Override PartName="/ppt/media/image39.svg" ContentType="image/svg+xml"/>
  <Override PartName="/ppt/media/image4.svg" ContentType="image/svg+xml"/>
  <Override PartName="/ppt/media/image41.svg" ContentType="image/svg+xml"/>
  <Override PartName="/ppt/media/image6.svg" ContentType="image/svg+xml"/>
  <Override PartName="/ppt/media/image8.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Override PartName="/ppt/webextensions/taskpanes.xml" ContentType="application/vnd.ms-office.webextensiontaskpanes+xml"/>
  <Override PartName="/ppt/webextensions/webextension1.xml" ContentType="application/vnd.ms-office.webextension+xml"/>
</Types>
</file>

<file path=_rels/.rels><?xml version='1.0' encoding='UTF-8' standalone='yes'?>
<Relationships xmlns="http://schemas.openxmlformats.org/package/2006/relationships"><Relationship Id="rId1" Type="http://schemas.microsoft.com/office/2011/relationships/webextensiontaskpanes" Target="ppt/webextensions/taskpanes.xml"/><Relationship Id="rId2" Type="http://schemas.openxmlformats.org/officeDocument/2006/relationships/officeDocument" Target="ppt/presentation.xml"/><Relationship Id="rId3" Type="http://schemas.openxmlformats.org/package/2006/relationships/metadata/thumbnail" Target="docProps/thumbnail.jpeg"/><Relationship Id="rId4" Type="http://schemas.openxmlformats.org/package/2006/relationships/metadata/core-properties" Target="docProps/core.xml"/><Relationship Id="rId5"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4"/>
  </p:notesMasterIdLst>
  <p:sldIdLst>
    <p:sldId id="259" r:id="rId2"/>
    <p:sldId id="262" r:id="rId3"/>
  </p:sldIdLst>
  <p:sldSz cx="6858000" cy="9906000" type="A4"/>
  <p:notesSz cx="6858000" cy="9144000"/>
  <p:custDataLst>
    <p:tags r:id="rId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F14C3C-EE5B-4F27-99C7-7533D2485734}">
          <p14:sldIdLst>
            <p14:sldId id="259"/>
            <p14:sldId id="262"/>
          </p14:sldIdLst>
        </p14:section>
      </p14:sectionLst>
    </p:ext>
    <p:ext uri="{EFAFB233-063F-42B5-8137-9DF3F51BA10A}">
      <p15:sldGuideLst xmlns:p15="http://schemas.microsoft.com/office/powerpoint/2012/main">
        <p15:guide id="1" pos="144" userDrawn="1">
          <p15:clr>
            <a:srgbClr val="A4A3A4"/>
          </p15:clr>
        </p15:guide>
        <p15:guide id="2" orient="horz" pos="31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6004"/>
    <a:srgbClr val="4E7039"/>
    <a:srgbClr val="338B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113D21-A4F0-4C83-A698-9B262FFC7BA6}" v="1651" dt="2025-10-10T15:13:13.8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25" autoAdjust="0"/>
    <p:restoredTop sz="94660"/>
  </p:normalViewPr>
  <p:slideViewPr>
    <p:cSldViewPr snapToGrid="0">
      <p:cViewPr varScale="1">
        <p:scale>
          <a:sx n="67" d="100"/>
          <a:sy n="67" d="100"/>
        </p:scale>
        <p:origin x="2634" y="90"/>
      </p:cViewPr>
      <p:guideLst>
        <p:guide pos="144"/>
        <p:guide orient="horz" pos="31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notesMaster" Target="notesMasters/notesMaster1.xml"/><Relationship Id="rId5" Type="http://schemas.openxmlformats.org/officeDocument/2006/relationships/tags" Target="tags/tag1.xml"/><Relationship Id="rId6" Type="http://schemas.openxmlformats.org/officeDocument/2006/relationships/presProps" Target="presProps.xml"/><Relationship Id="rId7" Type="http://schemas.openxmlformats.org/officeDocument/2006/relationships/viewProps" Target="viewProps.xml"/><Relationship Id="rId8" Type="http://schemas.openxmlformats.org/officeDocument/2006/relationships/theme" Target="theme/theme1.xml"/><Relationship Id="rId9" Type="http://schemas.openxmlformats.org/officeDocument/2006/relationships/tableStyles" Target="tableStyles.xml"/><Relationship Id="rId1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ortfolio return USD</c:v>
                </c:pt>
              </c:strCache>
            </c:strRef>
          </c:tx>
          <c:spPr>
            <a:ln w="12700" cap="rnd">
              <a:solidFill>
                <a:srgbClr val="92D050"/>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B$2:$B$1487</c:f>
              <c:numCache>
                <c:formatCode>General</c:formatCode>
                <c:ptCount val="1486"/>
                <c:pt idx="0">
                  <c:v>0.0</c:v>
                </c:pt>
                <c:pt idx="1">
                  <c:v>-0.00785835729466183</c:v>
                </c:pt>
                <c:pt idx="2">
                  <c:v>-0.0207939742467808</c:v>
                </c:pt>
                <c:pt idx="3">
                  <c:v>-0.025476184523065402</c:v>
                </c:pt>
                <c:pt idx="4">
                  <c:v>-0.0251818977372172</c:v>
                </c:pt>
                <c:pt idx="5">
                  <c:v>-0.0251818977372172</c:v>
                </c:pt>
                <c:pt idx="6">
                  <c:v>-0.0251818977372172</c:v>
                </c:pt>
                <c:pt idx="7">
                  <c:v>-0.0350517564695587</c:v>
                </c:pt>
                <c:pt idx="8">
                  <c:v>-0.0392361545193149</c:v>
                </c:pt>
                <c:pt idx="9">
                  <c:v>-0.0329106138267283</c:v>
                </c:pt>
                <c:pt idx="10">
                  <c:v>-0.0408946118264783</c:v>
                </c:pt>
                <c:pt idx="11">
                  <c:v>-0.055104513064133</c:v>
                </c:pt>
                <c:pt idx="12">
                  <c:v>-0.055104513064133</c:v>
                </c:pt>
                <c:pt idx="13">
                  <c:v>-0.055104513064133</c:v>
                </c:pt>
                <c:pt idx="14">
                  <c:v>-0.0832657832229029</c:v>
                </c:pt>
                <c:pt idx="15">
                  <c:v>-0.08245443180397549</c:v>
                </c:pt>
                <c:pt idx="16">
                  <c:v>-0.067043005375672</c:v>
                </c:pt>
                <c:pt idx="17">
                  <c:v>-0.054692711588948596</c:v>
                </c:pt>
                <c:pt idx="18">
                  <c:v>-0.0574114264283035</c:v>
                </c:pt>
                <c:pt idx="19">
                  <c:v>-0.0574114264283035</c:v>
                </c:pt>
                <c:pt idx="20">
                  <c:v>-0.0574114264283035</c:v>
                </c:pt>
                <c:pt idx="21">
                  <c:v>-0.0661256407050881</c:v>
                </c:pt>
                <c:pt idx="22">
                  <c:v>-0.081833604200525</c:v>
                </c:pt>
                <c:pt idx="23">
                  <c:v>-0.0826504563070384</c:v>
                </c:pt>
                <c:pt idx="24">
                  <c:v>-0.086324290536317</c:v>
                </c:pt>
                <c:pt idx="25">
                  <c:v>-0.0822452806600825</c:v>
                </c:pt>
                <c:pt idx="26">
                  <c:v>-0.0822452806600825</c:v>
                </c:pt>
                <c:pt idx="27">
                  <c:v>-0.0822452806600825</c:v>
                </c:pt>
                <c:pt idx="28">
                  <c:v>-0.0974991873984248</c:v>
                </c:pt>
                <c:pt idx="29">
                  <c:v>-0.0869657457182148</c:v>
                </c:pt>
                <c:pt idx="30">
                  <c:v>-0.0923805475684461</c:v>
                </c:pt>
                <c:pt idx="31">
                  <c:v>-0.073956994624328</c:v>
                </c:pt>
                <c:pt idx="32">
                  <c:v>-0.0737954744343043</c:v>
                </c:pt>
                <c:pt idx="33">
                  <c:v>-0.0737954744343043</c:v>
                </c:pt>
                <c:pt idx="34">
                  <c:v>-0.0737954744343043</c:v>
                </c:pt>
                <c:pt idx="35">
                  <c:v>-0.0711551443930491</c:v>
                </c:pt>
                <c:pt idx="36">
                  <c:v>-0.0722230278784848</c:v>
                </c:pt>
                <c:pt idx="37">
                  <c:v>-0.059576447055882</c:v>
                </c:pt>
                <c:pt idx="38">
                  <c:v>-0.044168896112014</c:v>
                </c:pt>
                <c:pt idx="39">
                  <c:v>-0.0207270908863608</c:v>
                </c:pt>
                <c:pt idx="40">
                  <c:v>-0.0207270908863608</c:v>
                </c:pt>
                <c:pt idx="41">
                  <c:v>-0.0207270908863608</c:v>
                </c:pt>
                <c:pt idx="42">
                  <c:v>-0.0141433929241155</c:v>
                </c:pt>
                <c:pt idx="43">
                  <c:v>-0.00552794099262408</c:v>
                </c:pt>
                <c:pt idx="44">
                  <c:v>0.005507688461057631</c:v>
                </c:pt>
                <c:pt idx="45">
                  <c:v>-0.00122377797224653</c:v>
                </c:pt>
                <c:pt idx="46">
                  <c:v>-0.00336579572446556</c:v>
                </c:pt>
                <c:pt idx="47">
                  <c:v>-0.00336579572446556</c:v>
                </c:pt>
                <c:pt idx="48">
                  <c:v>-0.00336579572446556</c:v>
                </c:pt>
                <c:pt idx="49">
                  <c:v>0.006501437679709961</c:v>
                </c:pt>
                <c:pt idx="50">
                  <c:v>0.0107407175896987</c:v>
                </c:pt>
                <c:pt idx="51">
                  <c:v>-0.00713826728341043</c:v>
                </c:pt>
                <c:pt idx="52">
                  <c:v>-0.000158144768096012</c:v>
                </c:pt>
                <c:pt idx="53">
                  <c:v>0.00678172271533942</c:v>
                </c:pt>
                <c:pt idx="54">
                  <c:v>0.00678172271533942</c:v>
                </c:pt>
                <c:pt idx="55">
                  <c:v>0.00678172271533942</c:v>
                </c:pt>
                <c:pt idx="56">
                  <c:v>0.0036755844480560102</c:v>
                </c:pt>
                <c:pt idx="57">
                  <c:v>0.005485810726340789</c:v>
                </c:pt>
                <c:pt idx="58">
                  <c:v>0.00323590448806101</c:v>
                </c:pt>
                <c:pt idx="59">
                  <c:v>0.0221750218777347</c:v>
                </c:pt>
                <c:pt idx="60">
                  <c:v>0.0228597324665583</c:v>
                </c:pt>
                <c:pt idx="61">
                  <c:v>0.0228597324665583</c:v>
                </c:pt>
                <c:pt idx="62">
                  <c:v>0.0228597324665583</c:v>
                </c:pt>
                <c:pt idx="63">
                  <c:v>0.028414676834604302</c:v>
                </c:pt>
                <c:pt idx="64">
                  <c:v>0.027270533816727102</c:v>
                </c:pt>
                <c:pt idx="65">
                  <c:v>0.0101550193774222</c:v>
                </c:pt>
                <c:pt idx="66">
                  <c:v>0.019417552194024298</c:v>
                </c:pt>
                <c:pt idx="67">
                  <c:v>0.0263301662707838</c:v>
                </c:pt>
                <c:pt idx="68">
                  <c:v>0.0263301662707838</c:v>
                </c:pt>
                <c:pt idx="69">
                  <c:v>0.0263301662707838</c:v>
                </c:pt>
                <c:pt idx="70">
                  <c:v>0.019713589198649798</c:v>
                </c:pt>
                <c:pt idx="71">
                  <c:v>0.025503812976622096</c:v>
                </c:pt>
                <c:pt idx="72">
                  <c:v>0.023593199149893704</c:v>
                </c:pt>
                <c:pt idx="73">
                  <c:v>0.020140017502187798</c:v>
                </c:pt>
                <c:pt idx="74">
                  <c:v>0.0157919739967496</c:v>
                </c:pt>
                <c:pt idx="75">
                  <c:v>0.0157919739967496</c:v>
                </c:pt>
                <c:pt idx="76">
                  <c:v>0.0157919739967496</c:v>
                </c:pt>
                <c:pt idx="77">
                  <c:v>0.011686210776347</c:v>
                </c:pt>
                <c:pt idx="78">
                  <c:v>0.00459107388423553</c:v>
                </c:pt>
                <c:pt idx="79">
                  <c:v>-0.0138079759969996</c:v>
                </c:pt>
                <c:pt idx="80">
                  <c:v>-0.012232404050506301</c:v>
                </c:pt>
                <c:pt idx="81">
                  <c:v>-0.043168896112014</c:v>
                </c:pt>
                <c:pt idx="82">
                  <c:v>-0.043168896112014</c:v>
                </c:pt>
                <c:pt idx="83">
                  <c:v>-0.043168896112014</c:v>
                </c:pt>
                <c:pt idx="84">
                  <c:v>-0.0316643330416302</c:v>
                </c:pt>
                <c:pt idx="85">
                  <c:v>-0.05117152144018</c:v>
                </c:pt>
                <c:pt idx="86">
                  <c:v>-0.0574165520690086</c:v>
                </c:pt>
                <c:pt idx="87">
                  <c:v>-0.0467155894486811</c:v>
                </c:pt>
                <c:pt idx="88">
                  <c:v>-0.0663081635204401</c:v>
                </c:pt>
                <c:pt idx="89">
                  <c:v>-0.0663081635204401</c:v>
                </c:pt>
                <c:pt idx="90">
                  <c:v>-0.0663081635204401</c:v>
                </c:pt>
                <c:pt idx="91">
                  <c:v>-0.0636775846980873</c:v>
                </c:pt>
                <c:pt idx="92">
                  <c:v>-0.0307317164645581</c:v>
                </c:pt>
                <c:pt idx="93">
                  <c:v>-0.0221196399549944</c:v>
                </c:pt>
                <c:pt idx="94">
                  <c:v>-0.0324573071633954</c:v>
                </c:pt>
                <c:pt idx="95">
                  <c:v>-0.0367653456682085</c:v>
                </c:pt>
                <c:pt idx="96">
                  <c:v>-0.0367653456682085</c:v>
                </c:pt>
                <c:pt idx="97">
                  <c:v>-0.0367653456682085</c:v>
                </c:pt>
                <c:pt idx="98">
                  <c:v>-0.0482977872234029</c:v>
                </c:pt>
                <c:pt idx="99">
                  <c:v>-0.0663435429428679</c:v>
                </c:pt>
                <c:pt idx="100">
                  <c:v>-0.0570248781097637</c:v>
                </c:pt>
                <c:pt idx="101">
                  <c:v>-0.0629332416552069</c:v>
                </c:pt>
                <c:pt idx="102">
                  <c:v>-0.0750661332666583</c:v>
                </c:pt>
                <c:pt idx="103">
                  <c:v>-0.0750661332666583</c:v>
                </c:pt>
                <c:pt idx="104">
                  <c:v>-0.0750661332666583</c:v>
                </c:pt>
                <c:pt idx="105">
                  <c:v>-0.0938162270283786</c:v>
                </c:pt>
                <c:pt idx="106">
                  <c:v>-0.0707439679959995</c:v>
                </c:pt>
                <c:pt idx="107">
                  <c:v>-0.059377172146518296</c:v>
                </c:pt>
                <c:pt idx="108">
                  <c:v>-0.0488093511688961</c:v>
                </c:pt>
                <c:pt idx="109">
                  <c:v>-0.0494791848981123</c:v>
                </c:pt>
                <c:pt idx="110">
                  <c:v>-0.0494791848981123</c:v>
                </c:pt>
                <c:pt idx="111">
                  <c:v>-0.0494791848981123</c:v>
                </c:pt>
                <c:pt idx="112">
                  <c:v>-0.0409054881860233</c:v>
                </c:pt>
                <c:pt idx="113">
                  <c:v>-0.0485980747593449</c:v>
                </c:pt>
                <c:pt idx="114">
                  <c:v>-0.052422177772221495</c:v>
                </c:pt>
                <c:pt idx="115">
                  <c:v>-0.0534221777722215</c:v>
                </c:pt>
                <c:pt idx="116">
                  <c:v>-0.053419177397174604</c:v>
                </c:pt>
                <c:pt idx="117">
                  <c:v>-0.053419177397174604</c:v>
                </c:pt>
                <c:pt idx="118">
                  <c:v>-0.053419177397174604</c:v>
                </c:pt>
                <c:pt idx="119">
                  <c:v>-0.047924490561320206</c:v>
                </c:pt>
                <c:pt idx="120">
                  <c:v>-0.050874109263658006</c:v>
                </c:pt>
                <c:pt idx="121">
                  <c:v>-0.0735768221027628</c:v>
                </c:pt>
                <c:pt idx="122">
                  <c:v>-0.0789348668583573</c:v>
                </c:pt>
                <c:pt idx="123">
                  <c:v>-0.0857304663082885</c:v>
                </c:pt>
                <c:pt idx="124">
                  <c:v>-0.0857304663082885</c:v>
                </c:pt>
                <c:pt idx="125">
                  <c:v>-0.0857304663082885</c:v>
                </c:pt>
                <c:pt idx="126">
                  <c:v>-0.0904595574446806</c:v>
                </c:pt>
                <c:pt idx="127">
                  <c:v>-0.0652192774096762</c:v>
                </c:pt>
                <c:pt idx="128">
                  <c:v>-0.041418927365920705</c:v>
                </c:pt>
                <c:pt idx="129">
                  <c:v>-0.055172271533941705</c:v>
                </c:pt>
                <c:pt idx="130">
                  <c:v>-0.0622972871608951</c:v>
                </c:pt>
                <c:pt idx="131">
                  <c:v>-0.0622972871608951</c:v>
                </c:pt>
                <c:pt idx="132">
                  <c:v>-0.0622972871608951</c:v>
                </c:pt>
                <c:pt idx="133">
                  <c:v>-0.06196512064008</c:v>
                </c:pt>
                <c:pt idx="134">
                  <c:v>-0.0811726465808226</c:v>
                </c:pt>
                <c:pt idx="135">
                  <c:v>-0.0813361670208776</c:v>
                </c:pt>
                <c:pt idx="136">
                  <c:v>-0.0826870858857357</c:v>
                </c:pt>
                <c:pt idx="137">
                  <c:v>-0.110029253656707</c:v>
                </c:pt>
                <c:pt idx="138">
                  <c:v>-0.110029253656707</c:v>
                </c:pt>
                <c:pt idx="139">
                  <c:v>-0.110029253656707</c:v>
                </c:pt>
                <c:pt idx="140">
                  <c:v>-0.124422177772222</c:v>
                </c:pt>
                <c:pt idx="141">
                  <c:v>-0.14111638954869402</c:v>
                </c:pt>
                <c:pt idx="142">
                  <c:v>-0.139380547568446</c:v>
                </c:pt>
                <c:pt idx="143">
                  <c:v>-0.148109513689211</c:v>
                </c:pt>
                <c:pt idx="144">
                  <c:v>-0.137767970996375</c:v>
                </c:pt>
                <c:pt idx="145">
                  <c:v>-0.137767970996375</c:v>
                </c:pt>
                <c:pt idx="146">
                  <c:v>-0.137767970996375</c:v>
                </c:pt>
                <c:pt idx="147">
                  <c:v>-0.113366295786973</c:v>
                </c:pt>
                <c:pt idx="148">
                  <c:v>-0.101318289786223</c:v>
                </c:pt>
                <c:pt idx="149">
                  <c:v>-0.0972930366295787</c:v>
                </c:pt>
                <c:pt idx="150">
                  <c:v>-0.120311413926741</c:v>
                </c:pt>
                <c:pt idx="151">
                  <c:v>-0.10863570446305801</c:v>
                </c:pt>
                <c:pt idx="152">
                  <c:v>-0.10863570446305801</c:v>
                </c:pt>
                <c:pt idx="153">
                  <c:v>-0.10863570446305801</c:v>
                </c:pt>
                <c:pt idx="154">
                  <c:v>-0.10484735591949</c:v>
                </c:pt>
                <c:pt idx="155">
                  <c:v>-0.10007796965074</c:v>
                </c:pt>
                <c:pt idx="156">
                  <c:v>-0.0758160295922362</c:v>
                </c:pt>
                <c:pt idx="157">
                  <c:v>-0.0799896077990861</c:v>
                </c:pt>
                <c:pt idx="158">
                  <c:v>-0.0981340552738101</c:v>
                </c:pt>
                <c:pt idx="159">
                  <c:v>-0.0981340552738101</c:v>
                </c:pt>
                <c:pt idx="160">
                  <c:v>-0.0981340552738101</c:v>
                </c:pt>
                <c:pt idx="161">
                  <c:v>-0.10669824102665199</c:v>
                </c:pt>
                <c:pt idx="162">
                  <c:v>-0.08836177459435661</c:v>
                </c:pt>
                <c:pt idx="163">
                  <c:v>-0.08308991767219</c:v>
                </c:pt>
                <c:pt idx="164">
                  <c:v>-0.11133379721600599</c:v>
                </c:pt>
                <c:pt idx="165">
                  <c:v>-0.126214155459371</c:v>
                </c:pt>
                <c:pt idx="166">
                  <c:v>-0.126214155459371</c:v>
                </c:pt>
                <c:pt idx="167">
                  <c:v>-0.126214155459371</c:v>
                </c:pt>
                <c:pt idx="168">
                  <c:v>-0.133443324097504</c:v>
                </c:pt>
                <c:pt idx="169">
                  <c:v>-0.139628095193945</c:v>
                </c:pt>
                <c:pt idx="170">
                  <c:v>-0.14714780143176</c:v>
                </c:pt>
                <c:pt idx="171">
                  <c:v>-0.142938356480906</c:v>
                </c:pt>
                <c:pt idx="172">
                  <c:v>-0.120660218931918</c:v>
                </c:pt>
                <c:pt idx="173">
                  <c:v>-0.120660218931918</c:v>
                </c:pt>
                <c:pt idx="174">
                  <c:v>-0.120660218931918</c:v>
                </c:pt>
                <c:pt idx="175">
                  <c:v>-0.121908157559512</c:v>
                </c:pt>
                <c:pt idx="176">
                  <c:v>-0.137257989413856</c:v>
                </c:pt>
                <c:pt idx="177">
                  <c:v>-0.129588346002671</c:v>
                </c:pt>
                <c:pt idx="178">
                  <c:v>-0.130086635520272</c:v>
                </c:pt>
                <c:pt idx="179">
                  <c:v>-0.14681942899551198</c:v>
                </c:pt>
                <c:pt idx="180">
                  <c:v>-0.14681942899551198</c:v>
                </c:pt>
                <c:pt idx="181">
                  <c:v>-0.14681942899551198</c:v>
                </c:pt>
                <c:pt idx="182">
                  <c:v>-0.17777651780418802</c:v>
                </c:pt>
                <c:pt idx="183">
                  <c:v>-0.17548719678118002</c:v>
                </c:pt>
                <c:pt idx="184">
                  <c:v>-0.14592174317232598</c:v>
                </c:pt>
                <c:pt idx="185">
                  <c:v>-0.148702533491416</c:v>
                </c:pt>
                <c:pt idx="186">
                  <c:v>-0.16044044473463898</c:v>
                </c:pt>
                <c:pt idx="187">
                  <c:v>-0.16044044473463898</c:v>
                </c:pt>
                <c:pt idx="188">
                  <c:v>-0.16044044473463898</c:v>
                </c:pt>
                <c:pt idx="189">
                  <c:v>-0.177092532255244</c:v>
                </c:pt>
                <c:pt idx="190">
                  <c:v>-0.173433276737247</c:v>
                </c:pt>
                <c:pt idx="191">
                  <c:v>-0.13294079488903</c:v>
                </c:pt>
                <c:pt idx="192">
                  <c:v>-0.118025383775063</c:v>
                </c:pt>
                <c:pt idx="193">
                  <c:v>-0.10608544930353</c:v>
                </c:pt>
                <c:pt idx="194">
                  <c:v>-0.10608544930353</c:v>
                </c:pt>
                <c:pt idx="195">
                  <c:v>-0.10608544930353</c:v>
                </c:pt>
                <c:pt idx="196">
                  <c:v>-0.109185756667088</c:v>
                </c:pt>
                <c:pt idx="197">
                  <c:v>-0.09889641913969481</c:v>
                </c:pt>
                <c:pt idx="198">
                  <c:v>-0.106631893718518</c:v>
                </c:pt>
                <c:pt idx="199">
                  <c:v>-0.09680591790761771</c:v>
                </c:pt>
                <c:pt idx="200">
                  <c:v>-0.0992207930085772</c:v>
                </c:pt>
                <c:pt idx="201">
                  <c:v>-0.0992207930085772</c:v>
                </c:pt>
                <c:pt idx="202">
                  <c:v>-0.0992207930085772</c:v>
                </c:pt>
                <c:pt idx="203">
                  <c:v>-0.0905145735669691</c:v>
                </c:pt>
                <c:pt idx="204">
                  <c:v>-0.072169314386078</c:v>
                </c:pt>
                <c:pt idx="205">
                  <c:v>-0.0733572729705545</c:v>
                </c:pt>
                <c:pt idx="206">
                  <c:v>-0.0871779351941297</c:v>
                </c:pt>
                <c:pt idx="207">
                  <c:v>-0.0820000436847036</c:v>
                </c:pt>
                <c:pt idx="208">
                  <c:v>-0.0820000436847036</c:v>
                </c:pt>
                <c:pt idx="209">
                  <c:v>-0.0820000436847036</c:v>
                </c:pt>
                <c:pt idx="210">
                  <c:v>-0.0749195170450252</c:v>
                </c:pt>
                <c:pt idx="211">
                  <c:v>-0.09300478111469991</c:v>
                </c:pt>
                <c:pt idx="212">
                  <c:v>-0.11344725841249699</c:v>
                </c:pt>
                <c:pt idx="213">
                  <c:v>-0.11460039253255401</c:v>
                </c:pt>
                <c:pt idx="214">
                  <c:v>-0.116794643801062</c:v>
                </c:pt>
                <c:pt idx="215">
                  <c:v>-0.116794643801062</c:v>
                </c:pt>
                <c:pt idx="216">
                  <c:v>-0.116794643801062</c:v>
                </c:pt>
                <c:pt idx="217">
                  <c:v>-0.137053491801311</c:v>
                </c:pt>
                <c:pt idx="218">
                  <c:v>-0.139456689856337</c:v>
                </c:pt>
                <c:pt idx="219">
                  <c:v>-0.125865951767284</c:v>
                </c:pt>
                <c:pt idx="220">
                  <c:v>-0.137066718897589</c:v>
                </c:pt>
                <c:pt idx="221">
                  <c:v>-0.137295919675283</c:v>
                </c:pt>
                <c:pt idx="222">
                  <c:v>-0.137295919675283</c:v>
                </c:pt>
                <c:pt idx="223">
                  <c:v>-0.137295919675283</c:v>
                </c:pt>
                <c:pt idx="224">
                  <c:v>-0.134131026880679</c:v>
                </c:pt>
                <c:pt idx="225">
                  <c:v>-0.12181422350191</c:v>
                </c:pt>
                <c:pt idx="226">
                  <c:v>-0.12184005767432801</c:v>
                </c:pt>
                <c:pt idx="227">
                  <c:v>-0.142900178366298</c:v>
                </c:pt>
                <c:pt idx="228">
                  <c:v>-0.165337673794915</c:v>
                </c:pt>
                <c:pt idx="229">
                  <c:v>-0.165337673794915</c:v>
                </c:pt>
                <c:pt idx="230">
                  <c:v>-0.165337673794915</c:v>
                </c:pt>
                <c:pt idx="231">
                  <c:v>-0.17327207150135798</c:v>
                </c:pt>
                <c:pt idx="232">
                  <c:v>-0.193248293655352</c:v>
                </c:pt>
                <c:pt idx="233">
                  <c:v>-0.187070309663274</c:v>
                </c:pt>
                <c:pt idx="234">
                  <c:v>-0.16220171527342</c:v>
                </c:pt>
                <c:pt idx="235">
                  <c:v>-0.172974151825032</c:v>
                </c:pt>
                <c:pt idx="236">
                  <c:v>-0.172974151825032</c:v>
                </c:pt>
                <c:pt idx="237">
                  <c:v>-0.172974151825032</c:v>
                </c:pt>
                <c:pt idx="238">
                  <c:v>-0.17424343638428097</c:v>
                </c:pt>
                <c:pt idx="239">
                  <c:v>-0.16619939845009502</c:v>
                </c:pt>
                <c:pt idx="240">
                  <c:v>-0.14223985691929</c:v>
                </c:pt>
                <c:pt idx="241">
                  <c:v>-0.163894370250257</c:v>
                </c:pt>
                <c:pt idx="242">
                  <c:v>-0.176720210162354</c:v>
                </c:pt>
                <c:pt idx="243">
                  <c:v>-0.176720210162354</c:v>
                </c:pt>
                <c:pt idx="244">
                  <c:v>-0.176720210162354</c:v>
                </c:pt>
                <c:pt idx="245">
                  <c:v>-0.20960545826363097</c:v>
                </c:pt>
                <c:pt idx="246">
                  <c:v>-0.21144712474697702</c:v>
                </c:pt>
                <c:pt idx="247">
                  <c:v>-0.218979542730594</c:v>
                </c:pt>
                <c:pt idx="248">
                  <c:v>-0.224102562457804</c:v>
                </c:pt>
                <c:pt idx="249">
                  <c:v>-0.195634131146513</c:v>
                </c:pt>
                <c:pt idx="250">
                  <c:v>-0.195634131146513</c:v>
                </c:pt>
                <c:pt idx="251">
                  <c:v>-0.195634131146513</c:v>
                </c:pt>
                <c:pt idx="252">
                  <c:v>-0.19850461771224</c:v>
                </c:pt>
                <c:pt idx="253">
                  <c:v>-0.170119269099446</c:v>
                </c:pt>
                <c:pt idx="254">
                  <c:v>-0.196135004081357</c:v>
                </c:pt>
                <c:pt idx="255">
                  <c:v>-0.197820322153227</c:v>
                </c:pt>
                <c:pt idx="256">
                  <c:v>-0.19452811855694702</c:v>
                </c:pt>
                <c:pt idx="257">
                  <c:v>-0.19452811855694702</c:v>
                </c:pt>
                <c:pt idx="258">
                  <c:v>-0.19452811855694702</c:v>
                </c:pt>
                <c:pt idx="259">
                  <c:v>-0.18118745525690103</c:v>
                </c:pt>
                <c:pt idx="260">
                  <c:v>-0.19203274417473298</c:v>
                </c:pt>
                <c:pt idx="261">
                  <c:v>-0.185926992528736</c:v>
                </c:pt>
                <c:pt idx="262">
                  <c:v>-0.171219288161011</c:v>
                </c:pt>
                <c:pt idx="263">
                  <c:v>-0.146645100000034</c:v>
                </c:pt>
                <c:pt idx="264">
                  <c:v>-0.146645100000034</c:v>
                </c:pt>
                <c:pt idx="265">
                  <c:v>-0.146645100000034</c:v>
                </c:pt>
                <c:pt idx="266">
                  <c:v>-0.139279260760169</c:v>
                </c:pt>
                <c:pt idx="267">
                  <c:v>-0.143179807448552</c:v>
                </c:pt>
                <c:pt idx="268">
                  <c:v>-0.154015899401003</c:v>
                </c:pt>
                <c:pt idx="269">
                  <c:v>-0.137315140299562</c:v>
                </c:pt>
                <c:pt idx="270">
                  <c:v>-0.149478385357478</c:v>
                </c:pt>
                <c:pt idx="271">
                  <c:v>-0.149478385357478</c:v>
                </c:pt>
                <c:pt idx="272">
                  <c:v>-0.149478385357478</c:v>
                </c:pt>
                <c:pt idx="273">
                  <c:v>-0.143846225760251</c:v>
                </c:pt>
                <c:pt idx="274">
                  <c:v>-0.14238700836538398</c:v>
                </c:pt>
                <c:pt idx="275">
                  <c:v>-0.145276095535251</c:v>
                </c:pt>
                <c:pt idx="276">
                  <c:v>-0.164760125036334</c:v>
                </c:pt>
                <c:pt idx="277">
                  <c:v>-0.1830954588358</c:v>
                </c:pt>
                <c:pt idx="278">
                  <c:v>-0.1830954588358</c:v>
                </c:pt>
                <c:pt idx="279">
                  <c:v>-0.1830954588358</c:v>
                </c:pt>
                <c:pt idx="280">
                  <c:v>-0.219499717905322</c:v>
                </c:pt>
                <c:pt idx="281">
                  <c:v>-0.22102011241926298</c:v>
                </c:pt>
                <c:pt idx="282">
                  <c:v>-0.21011757659028</c:v>
                </c:pt>
                <c:pt idx="283">
                  <c:v>-0.237023386807798</c:v>
                </c:pt>
                <c:pt idx="284">
                  <c:v>-0.232485526969913</c:v>
                </c:pt>
                <c:pt idx="285">
                  <c:v>-0.232485526969913</c:v>
                </c:pt>
                <c:pt idx="286">
                  <c:v>-0.232485526969913</c:v>
                </c:pt>
                <c:pt idx="287">
                  <c:v>-0.228192617853814</c:v>
                </c:pt>
                <c:pt idx="288">
                  <c:v>-0.214679278436634</c:v>
                </c:pt>
                <c:pt idx="289">
                  <c:v>-0.224483941606099</c:v>
                </c:pt>
                <c:pt idx="290">
                  <c:v>-0.223219278548208</c:v>
                </c:pt>
                <c:pt idx="291">
                  <c:v>-0.19772014683032801</c:v>
                </c:pt>
                <c:pt idx="292">
                  <c:v>-0.19772014683032801</c:v>
                </c:pt>
                <c:pt idx="293">
                  <c:v>-0.19772014683032801</c:v>
                </c:pt>
                <c:pt idx="294">
                  <c:v>-0.194514536961296</c:v>
                </c:pt>
                <c:pt idx="295">
                  <c:v>-0.209538526767217</c:v>
                </c:pt>
                <c:pt idx="296">
                  <c:v>-0.220536534290979</c:v>
                </c:pt>
                <c:pt idx="297">
                  <c:v>-0.234228377788954</c:v>
                </c:pt>
                <c:pt idx="298">
                  <c:v>-0.23661247497489002</c:v>
                </c:pt>
                <c:pt idx="299">
                  <c:v>-0.23661247497489002</c:v>
                </c:pt>
                <c:pt idx="300">
                  <c:v>-0.23661247497489002</c:v>
                </c:pt>
                <c:pt idx="301">
                  <c:v>-0.238915716653845</c:v>
                </c:pt>
                <c:pt idx="302">
                  <c:v>-0.2440522182261</c:v>
                </c:pt>
                <c:pt idx="303">
                  <c:v>-0.242082971987515</c:v>
                </c:pt>
                <c:pt idx="304">
                  <c:v>-0.220394726171046</c:v>
                </c:pt>
                <c:pt idx="305">
                  <c:v>-0.217800301006056</c:v>
                </c:pt>
                <c:pt idx="306">
                  <c:v>-0.217800301006056</c:v>
                </c:pt>
                <c:pt idx="307">
                  <c:v>-0.217800301006056</c:v>
                </c:pt>
                <c:pt idx="308">
                  <c:v>-0.236003985454413</c:v>
                </c:pt>
                <c:pt idx="309">
                  <c:v>-0.23986535421723298</c:v>
                </c:pt>
                <c:pt idx="310">
                  <c:v>-0.241660864776718</c:v>
                </c:pt>
                <c:pt idx="311">
                  <c:v>-0.247141105914544</c:v>
                </c:pt>
                <c:pt idx="312">
                  <c:v>-0.236612682296702</c:v>
                </c:pt>
                <c:pt idx="313">
                  <c:v>-0.236612682296702</c:v>
                </c:pt>
                <c:pt idx="314">
                  <c:v>-0.236612682296702</c:v>
                </c:pt>
                <c:pt idx="315">
                  <c:v>-0.229574003092293</c:v>
                </c:pt>
                <c:pt idx="316">
                  <c:v>-0.213592601155006</c:v>
                </c:pt>
                <c:pt idx="317">
                  <c:v>-0.204712489609583</c:v>
                </c:pt>
                <c:pt idx="318">
                  <c:v>-0.202251579692017</c:v>
                </c:pt>
                <c:pt idx="319">
                  <c:v>-0.207765199641698</c:v>
                </c:pt>
                <c:pt idx="320">
                  <c:v>-0.207765199641698</c:v>
                </c:pt>
                <c:pt idx="321">
                  <c:v>-0.207765199641698</c:v>
                </c:pt>
                <c:pt idx="322">
                  <c:v>-0.212015607786179</c:v>
                </c:pt>
                <c:pt idx="323">
                  <c:v>-0.221787928752852</c:v>
                </c:pt>
                <c:pt idx="324">
                  <c:v>-0.21019397467828602</c:v>
                </c:pt>
                <c:pt idx="325">
                  <c:v>-0.197691640081072</c:v>
                </c:pt>
                <c:pt idx="326">
                  <c:v>-0.188342877577886</c:v>
                </c:pt>
                <c:pt idx="327">
                  <c:v>-0.188342877577886</c:v>
                </c:pt>
                <c:pt idx="328">
                  <c:v>-0.188342877577886</c:v>
                </c:pt>
                <c:pt idx="329">
                  <c:v>-0.184793009838751</c:v>
                </c:pt>
                <c:pt idx="330">
                  <c:v>-0.191743162629108</c:v>
                </c:pt>
                <c:pt idx="331">
                  <c:v>-0.179475827306668</c:v>
                </c:pt>
                <c:pt idx="332">
                  <c:v>-0.16785367746556498</c:v>
                </c:pt>
                <c:pt idx="333">
                  <c:v>-0.168986483850534</c:v>
                </c:pt>
                <c:pt idx="334">
                  <c:v>-0.168986483850534</c:v>
                </c:pt>
                <c:pt idx="335">
                  <c:v>-0.168986483850534</c:v>
                </c:pt>
                <c:pt idx="336">
                  <c:v>-0.171310043067141</c:v>
                </c:pt>
                <c:pt idx="337">
                  <c:v>-0.178638972809427</c:v>
                </c:pt>
                <c:pt idx="338">
                  <c:v>-0.155849433523529</c:v>
                </c:pt>
                <c:pt idx="339">
                  <c:v>-0.153426670819512</c:v>
                </c:pt>
                <c:pt idx="340">
                  <c:v>-0.144904085740209</c:v>
                </c:pt>
                <c:pt idx="341">
                  <c:v>-0.144904085740209</c:v>
                </c:pt>
                <c:pt idx="342">
                  <c:v>-0.144904085740209</c:v>
                </c:pt>
                <c:pt idx="343">
                  <c:v>-0.145432963684583</c:v>
                </c:pt>
                <c:pt idx="344">
                  <c:v>-0.142617118823556</c:v>
                </c:pt>
                <c:pt idx="345">
                  <c:v>-0.152838809819406</c:v>
                </c:pt>
                <c:pt idx="346">
                  <c:v>-0.15294734278839</c:v>
                </c:pt>
                <c:pt idx="347">
                  <c:v>-0.163262017617266</c:v>
                </c:pt>
                <c:pt idx="348">
                  <c:v>-0.163262017617266</c:v>
                </c:pt>
                <c:pt idx="349">
                  <c:v>-0.163262017617266</c:v>
                </c:pt>
                <c:pt idx="350">
                  <c:v>-0.17724193477408398</c:v>
                </c:pt>
                <c:pt idx="351">
                  <c:v>-0.17841392498166597</c:v>
                </c:pt>
                <c:pt idx="352">
                  <c:v>-0.178551379343532</c:v>
                </c:pt>
                <c:pt idx="353">
                  <c:v>-0.164506052154786</c:v>
                </c:pt>
                <c:pt idx="354">
                  <c:v>-0.184784095000802</c:v>
                </c:pt>
                <c:pt idx="355">
                  <c:v>-0.184784095000802</c:v>
                </c:pt>
                <c:pt idx="356">
                  <c:v>-0.184784095000802</c:v>
                </c:pt>
                <c:pt idx="357">
                  <c:v>-0.189624541024423</c:v>
                </c:pt>
                <c:pt idx="358">
                  <c:v>-0.19788714455051298</c:v>
                </c:pt>
                <c:pt idx="359">
                  <c:v>-0.203576677058329</c:v>
                </c:pt>
                <c:pt idx="360">
                  <c:v>-0.219690764955789</c:v>
                </c:pt>
                <c:pt idx="361">
                  <c:v>-0.221331924425667</c:v>
                </c:pt>
                <c:pt idx="362">
                  <c:v>-0.221331924425667</c:v>
                </c:pt>
                <c:pt idx="363">
                  <c:v>-0.221331924425667</c:v>
                </c:pt>
                <c:pt idx="364">
                  <c:v>-0.228278552745207</c:v>
                </c:pt>
                <c:pt idx="365">
                  <c:v>-0.22952735568442</c:v>
                </c:pt>
                <c:pt idx="366">
                  <c:v>-0.220197459466196</c:v>
                </c:pt>
                <c:pt idx="367">
                  <c:v>-0.216921463841729</c:v>
                </c:pt>
                <c:pt idx="368">
                  <c:v>-0.20338055062344998</c:v>
                </c:pt>
                <c:pt idx="369">
                  <c:v>-0.20338055062344998</c:v>
                </c:pt>
                <c:pt idx="370">
                  <c:v>-0.20338055062344998</c:v>
                </c:pt>
                <c:pt idx="371">
                  <c:v>-0.19336638876218198</c:v>
                </c:pt>
                <c:pt idx="372">
                  <c:v>-0.222324373943392</c:v>
                </c:pt>
                <c:pt idx="373">
                  <c:v>-0.22224300013188</c:v>
                </c:pt>
                <c:pt idx="374">
                  <c:v>-0.235066890860698</c:v>
                </c:pt>
                <c:pt idx="375">
                  <c:v>-0.242947192964042</c:v>
                </c:pt>
                <c:pt idx="376">
                  <c:v>-0.242947192964042</c:v>
                </c:pt>
                <c:pt idx="377">
                  <c:v>-0.242947192964042</c:v>
                </c:pt>
                <c:pt idx="378">
                  <c:v>-0.23786967444752002</c:v>
                </c:pt>
                <c:pt idx="379">
                  <c:v>-0.245064985281476</c:v>
                </c:pt>
                <c:pt idx="380">
                  <c:v>-0.254192120766813</c:v>
                </c:pt>
                <c:pt idx="381">
                  <c:v>-0.266264677246156</c:v>
                </c:pt>
                <c:pt idx="382">
                  <c:v>-0.280549772111369</c:v>
                </c:pt>
                <c:pt idx="383">
                  <c:v>-0.280549772111369</c:v>
                </c:pt>
                <c:pt idx="384">
                  <c:v>-0.280549772111369</c:v>
                </c:pt>
                <c:pt idx="385">
                  <c:v>-0.283897501083054</c:v>
                </c:pt>
                <c:pt idx="386">
                  <c:v>-0.283911909949042</c:v>
                </c:pt>
                <c:pt idx="387">
                  <c:v>-0.276606822215224</c:v>
                </c:pt>
                <c:pt idx="388">
                  <c:v>-0.294850519773446</c:v>
                </c:pt>
                <c:pt idx="389">
                  <c:v>-0.299203448554341</c:v>
                </c:pt>
                <c:pt idx="390">
                  <c:v>-0.299203448554341</c:v>
                </c:pt>
                <c:pt idx="391">
                  <c:v>-0.299203448554341</c:v>
                </c:pt>
                <c:pt idx="392">
                  <c:v>-0.284368017937133</c:v>
                </c:pt>
                <c:pt idx="393">
                  <c:v>-0.263020090876323</c:v>
                </c:pt>
                <c:pt idx="394">
                  <c:v>-0.267111275868598</c:v>
                </c:pt>
                <c:pt idx="395">
                  <c:v>-0.27087437409216497</c:v>
                </c:pt>
                <c:pt idx="396">
                  <c:v>-0.292404951670024</c:v>
                </c:pt>
                <c:pt idx="397">
                  <c:v>-0.292404951670024</c:v>
                </c:pt>
                <c:pt idx="398">
                  <c:v>-0.292404951670024</c:v>
                </c:pt>
                <c:pt idx="399">
                  <c:v>-0.295954819409159</c:v>
                </c:pt>
                <c:pt idx="400">
                  <c:v>-0.304803314378134</c:v>
                </c:pt>
                <c:pt idx="401">
                  <c:v>-0.30808273081251203</c:v>
                </c:pt>
                <c:pt idx="402">
                  <c:v>-0.298629892759316</c:v>
                </c:pt>
                <c:pt idx="403">
                  <c:v>-0.308833339435642</c:v>
                </c:pt>
                <c:pt idx="404">
                  <c:v>-0.308833339435642</c:v>
                </c:pt>
                <c:pt idx="405">
                  <c:v>-0.308833339435642</c:v>
                </c:pt>
                <c:pt idx="406">
                  <c:v>-0.291659318770401</c:v>
                </c:pt>
                <c:pt idx="407">
                  <c:v>-0.286454608321745</c:v>
                </c:pt>
                <c:pt idx="408">
                  <c:v>-0.294199736603164</c:v>
                </c:pt>
                <c:pt idx="409">
                  <c:v>-0.297068966830979</c:v>
                </c:pt>
                <c:pt idx="410">
                  <c:v>-0.28305650014955697</c:v>
                </c:pt>
                <c:pt idx="411">
                  <c:v>-0.28305650014955697</c:v>
                </c:pt>
                <c:pt idx="412">
                  <c:v>-0.28305650014955697</c:v>
                </c:pt>
                <c:pt idx="413">
                  <c:v>-0.286090862201242</c:v>
                </c:pt>
                <c:pt idx="414">
                  <c:v>-0.27624711887007</c:v>
                </c:pt>
                <c:pt idx="415">
                  <c:v>-0.274222828690195</c:v>
                </c:pt>
                <c:pt idx="416">
                  <c:v>-0.281788934586288</c:v>
                </c:pt>
                <c:pt idx="417">
                  <c:v>-0.281308673607009</c:v>
                </c:pt>
                <c:pt idx="418">
                  <c:v>-0.281308673607009</c:v>
                </c:pt>
                <c:pt idx="419">
                  <c:v>-0.281308673607009</c:v>
                </c:pt>
                <c:pt idx="420">
                  <c:v>-0.287016761417068</c:v>
                </c:pt>
                <c:pt idx="421">
                  <c:v>-0.281562020862213</c:v>
                </c:pt>
                <c:pt idx="422">
                  <c:v>-0.294700315120095</c:v>
                </c:pt>
                <c:pt idx="423">
                  <c:v>-0.304228203669514</c:v>
                </c:pt>
                <c:pt idx="424">
                  <c:v>-0.28171087792378097</c:v>
                </c:pt>
                <c:pt idx="425">
                  <c:v>-0.28171087792378097</c:v>
                </c:pt>
                <c:pt idx="426">
                  <c:v>-0.28171087792378097</c:v>
                </c:pt>
                <c:pt idx="427">
                  <c:v>-0.269845021291768</c:v>
                </c:pt>
                <c:pt idx="428">
                  <c:v>-0.257615522200158</c:v>
                </c:pt>
                <c:pt idx="429">
                  <c:v>-0.271302597296439</c:v>
                </c:pt>
                <c:pt idx="430">
                  <c:v>-0.230223645992604</c:v>
                </c:pt>
                <c:pt idx="431">
                  <c:v>-0.212432013647126</c:v>
                </c:pt>
                <c:pt idx="432">
                  <c:v>-0.212432013647126</c:v>
                </c:pt>
                <c:pt idx="433">
                  <c:v>-0.212432013647126</c:v>
                </c:pt>
                <c:pt idx="434">
                  <c:v>-0.217940450551488</c:v>
                </c:pt>
                <c:pt idx="435">
                  <c:v>-0.20942024967303202</c:v>
                </c:pt>
                <c:pt idx="436">
                  <c:v>-0.222507853747692</c:v>
                </c:pt>
                <c:pt idx="437">
                  <c:v>-0.229764117194602</c:v>
                </c:pt>
                <c:pt idx="438">
                  <c:v>-0.23022416429713602</c:v>
                </c:pt>
                <c:pt idx="439">
                  <c:v>-0.23022416429713602</c:v>
                </c:pt>
                <c:pt idx="440">
                  <c:v>-0.23022416429713602</c:v>
                </c:pt>
                <c:pt idx="441">
                  <c:v>-0.237309905553044</c:v>
                </c:pt>
                <c:pt idx="442">
                  <c:v>-0.227968295652398</c:v>
                </c:pt>
                <c:pt idx="443">
                  <c:v>-0.223739137993726</c:v>
                </c:pt>
                <c:pt idx="444">
                  <c:v>-0.222085642875988</c:v>
                </c:pt>
                <c:pt idx="445">
                  <c:v>-0.227482126001455</c:v>
                </c:pt>
                <c:pt idx="446">
                  <c:v>-0.227482126001455</c:v>
                </c:pt>
                <c:pt idx="447">
                  <c:v>-0.227482126001455</c:v>
                </c:pt>
                <c:pt idx="448">
                  <c:v>-0.239569195007693</c:v>
                </c:pt>
                <c:pt idx="449">
                  <c:v>-0.23470677287191802</c:v>
                </c:pt>
                <c:pt idx="450">
                  <c:v>-0.212414909597572</c:v>
                </c:pt>
                <c:pt idx="451">
                  <c:v>-0.208148330351695</c:v>
                </c:pt>
                <c:pt idx="452">
                  <c:v>-0.206611764736359</c:v>
                </c:pt>
                <c:pt idx="453">
                  <c:v>-0.206611764736359</c:v>
                </c:pt>
                <c:pt idx="454">
                  <c:v>-0.206611764736359</c:v>
                </c:pt>
                <c:pt idx="455">
                  <c:v>-0.21087948425220598</c:v>
                </c:pt>
                <c:pt idx="456">
                  <c:v>-0.222297733090451</c:v>
                </c:pt>
                <c:pt idx="457">
                  <c:v>-0.227040945183883</c:v>
                </c:pt>
                <c:pt idx="458">
                  <c:v>-0.213670035852075</c:v>
                </c:pt>
                <c:pt idx="459">
                  <c:v>-0.212924713935171</c:v>
                </c:pt>
                <c:pt idx="460">
                  <c:v>-0.212924713935171</c:v>
                </c:pt>
                <c:pt idx="461">
                  <c:v>-0.212924713935171</c:v>
                </c:pt>
                <c:pt idx="462">
                  <c:v>-0.213563990744843</c:v>
                </c:pt>
                <c:pt idx="463">
                  <c:v>-0.205396236948095</c:v>
                </c:pt>
                <c:pt idx="464">
                  <c:v>-0.207266590681989</c:v>
                </c:pt>
                <c:pt idx="465">
                  <c:v>-0.228898444965386</c:v>
                </c:pt>
                <c:pt idx="466">
                  <c:v>-0.233008392581716</c:v>
                </c:pt>
                <c:pt idx="467">
                  <c:v>-0.233008392581716</c:v>
                </c:pt>
                <c:pt idx="468">
                  <c:v>-0.233008392581716</c:v>
                </c:pt>
                <c:pt idx="469">
                  <c:v>-0.236611127383107</c:v>
                </c:pt>
                <c:pt idx="470">
                  <c:v>-0.241228080492563</c:v>
                </c:pt>
                <c:pt idx="471">
                  <c:v>-0.23124076680604802</c:v>
                </c:pt>
                <c:pt idx="472">
                  <c:v>-0.23831220285687502</c:v>
                </c:pt>
                <c:pt idx="473">
                  <c:v>-0.23438065566043298</c:v>
                </c:pt>
                <c:pt idx="474">
                  <c:v>-0.23438065566043298</c:v>
                </c:pt>
                <c:pt idx="475">
                  <c:v>-0.23438065566043298</c:v>
                </c:pt>
                <c:pt idx="476">
                  <c:v>-0.234097143081472</c:v>
                </c:pt>
                <c:pt idx="477">
                  <c:v>-0.239974301829843</c:v>
                </c:pt>
                <c:pt idx="478">
                  <c:v>-0.24529345391914797</c:v>
                </c:pt>
                <c:pt idx="479">
                  <c:v>-0.23259706610518202</c:v>
                </c:pt>
                <c:pt idx="480">
                  <c:v>-0.235479668589921</c:v>
                </c:pt>
                <c:pt idx="481">
                  <c:v>-0.235479668589921</c:v>
                </c:pt>
                <c:pt idx="482">
                  <c:v>-0.235479668589921</c:v>
                </c:pt>
                <c:pt idx="483">
                  <c:v>-0.23296402571378302</c:v>
                </c:pt>
                <c:pt idx="484">
                  <c:v>-0.23503558526697</c:v>
                </c:pt>
                <c:pt idx="485">
                  <c:v>-0.224256094933866</c:v>
                </c:pt>
                <c:pt idx="486">
                  <c:v>-0.22777424243564698</c:v>
                </c:pt>
                <c:pt idx="487">
                  <c:v>-0.212070859049282</c:v>
                </c:pt>
                <c:pt idx="488">
                  <c:v>-0.212070859049282</c:v>
                </c:pt>
                <c:pt idx="489">
                  <c:v>-0.212070859049282</c:v>
                </c:pt>
                <c:pt idx="490">
                  <c:v>-0.201338016124051</c:v>
                </c:pt>
                <c:pt idx="491">
                  <c:v>-0.197644992673199</c:v>
                </c:pt>
                <c:pt idx="492">
                  <c:v>-0.187322024971812</c:v>
                </c:pt>
                <c:pt idx="493">
                  <c:v>-0.180113341880932</c:v>
                </c:pt>
                <c:pt idx="494">
                  <c:v>-0.17761853484697798</c:v>
                </c:pt>
                <c:pt idx="495">
                  <c:v>-0.17761853484697798</c:v>
                </c:pt>
                <c:pt idx="496">
                  <c:v>-0.17761853484697798</c:v>
                </c:pt>
                <c:pt idx="497">
                  <c:v>-0.181772952992147</c:v>
                </c:pt>
                <c:pt idx="498">
                  <c:v>-0.18085068190804499</c:v>
                </c:pt>
                <c:pt idx="499">
                  <c:v>-0.18383093296659697</c:v>
                </c:pt>
                <c:pt idx="500">
                  <c:v>-0.187402776817886</c:v>
                </c:pt>
                <c:pt idx="501">
                  <c:v>-0.174090124915465</c:v>
                </c:pt>
                <c:pt idx="502">
                  <c:v>-0.174090124915465</c:v>
                </c:pt>
                <c:pt idx="503">
                  <c:v>-0.174090124915465</c:v>
                </c:pt>
                <c:pt idx="504">
                  <c:v>-0.16005547480007698</c:v>
                </c:pt>
                <c:pt idx="505">
                  <c:v>-0.160649866437285</c:v>
                </c:pt>
                <c:pt idx="506">
                  <c:v>-0.163850915226436</c:v>
                </c:pt>
                <c:pt idx="507">
                  <c:v>-0.15304716824123799</c:v>
                </c:pt>
                <c:pt idx="508">
                  <c:v>-0.14720660179282</c:v>
                </c:pt>
                <c:pt idx="509">
                  <c:v>-0.14720660179282</c:v>
                </c:pt>
                <c:pt idx="510">
                  <c:v>-0.14720660179282</c:v>
                </c:pt>
                <c:pt idx="511">
                  <c:v>-0.159798188430431</c:v>
                </c:pt>
                <c:pt idx="512">
                  <c:v>-0.153938237392519</c:v>
                </c:pt>
                <c:pt idx="513">
                  <c:v>-0.139378959429919</c:v>
                </c:pt>
                <c:pt idx="514">
                  <c:v>-0.123896892078685</c:v>
                </c:pt>
                <c:pt idx="515">
                  <c:v>-0.13546959566744302</c:v>
                </c:pt>
                <c:pt idx="516">
                  <c:v>-0.13546959566744302</c:v>
                </c:pt>
                <c:pt idx="517">
                  <c:v>-0.13546959566744302</c:v>
                </c:pt>
                <c:pt idx="518">
                  <c:v>-0.149726080122494</c:v>
                </c:pt>
                <c:pt idx="519">
                  <c:v>-0.14029915729589398</c:v>
                </c:pt>
                <c:pt idx="520">
                  <c:v>-0.152016675170871</c:v>
                </c:pt>
                <c:pt idx="521">
                  <c:v>-0.150876301539736</c:v>
                </c:pt>
                <c:pt idx="522">
                  <c:v>-0.16083707803421599</c:v>
                </c:pt>
                <c:pt idx="523">
                  <c:v>-0.16083707803421599</c:v>
                </c:pt>
                <c:pt idx="524">
                  <c:v>-0.16083707803421599</c:v>
                </c:pt>
                <c:pt idx="525">
                  <c:v>-0.153344467720749</c:v>
                </c:pt>
                <c:pt idx="526">
                  <c:v>-0.147536450796936</c:v>
                </c:pt>
                <c:pt idx="527">
                  <c:v>-0.148110110252867</c:v>
                </c:pt>
                <c:pt idx="528">
                  <c:v>-0.155230370590601</c:v>
                </c:pt>
                <c:pt idx="529">
                  <c:v>-0.16506457711838501</c:v>
                </c:pt>
                <c:pt idx="530">
                  <c:v>-0.16506457711838501</c:v>
                </c:pt>
                <c:pt idx="531">
                  <c:v>-0.16506457711838501</c:v>
                </c:pt>
                <c:pt idx="532">
                  <c:v>-0.16228895268903598</c:v>
                </c:pt>
                <c:pt idx="533">
                  <c:v>-0.176817339701533</c:v>
                </c:pt>
                <c:pt idx="534">
                  <c:v>-0.18172786049787</c:v>
                </c:pt>
                <c:pt idx="535">
                  <c:v>-0.17071772464805998</c:v>
                </c:pt>
                <c:pt idx="536">
                  <c:v>-0.18763819073628502</c:v>
                </c:pt>
                <c:pt idx="537">
                  <c:v>-0.18763819073628502</c:v>
                </c:pt>
                <c:pt idx="538">
                  <c:v>-0.18763819073628502</c:v>
                </c:pt>
                <c:pt idx="539">
                  <c:v>-0.18147492788629202</c:v>
                </c:pt>
                <c:pt idx="540">
                  <c:v>-0.180440599362388</c:v>
                </c:pt>
                <c:pt idx="541">
                  <c:v>-0.174873075741387</c:v>
                </c:pt>
                <c:pt idx="542">
                  <c:v>-0.177118889278205</c:v>
                </c:pt>
                <c:pt idx="543">
                  <c:v>-0.15983840886210798</c:v>
                </c:pt>
                <c:pt idx="544">
                  <c:v>-0.15983840886210798</c:v>
                </c:pt>
                <c:pt idx="545">
                  <c:v>-0.15983840886210798</c:v>
                </c:pt>
                <c:pt idx="546">
                  <c:v>-0.16150683115036502</c:v>
                </c:pt>
                <c:pt idx="547">
                  <c:v>-0.17662245719753</c:v>
                </c:pt>
                <c:pt idx="548">
                  <c:v>-0.174189121081062</c:v>
                </c:pt>
                <c:pt idx="549">
                  <c:v>-0.19039163173166798</c:v>
                </c:pt>
                <c:pt idx="550">
                  <c:v>-0.203316488183304</c:v>
                </c:pt>
                <c:pt idx="551">
                  <c:v>-0.203316488183304</c:v>
                </c:pt>
                <c:pt idx="552">
                  <c:v>-0.203316488183304</c:v>
                </c:pt>
                <c:pt idx="553">
                  <c:v>-0.20236736892444798</c:v>
                </c:pt>
                <c:pt idx="554">
                  <c:v>-0.18933315021657598</c:v>
                </c:pt>
                <c:pt idx="555">
                  <c:v>-0.204067718771872</c:v>
                </c:pt>
                <c:pt idx="556">
                  <c:v>-0.194122595074256</c:v>
                </c:pt>
                <c:pt idx="557">
                  <c:v>-0.19928117641957102</c:v>
                </c:pt>
                <c:pt idx="558">
                  <c:v>-0.19928117641957102</c:v>
                </c:pt>
                <c:pt idx="559">
                  <c:v>-0.19928117641957102</c:v>
                </c:pt>
                <c:pt idx="560">
                  <c:v>-0.194445913441269</c:v>
                </c:pt>
                <c:pt idx="561">
                  <c:v>-0.17923678525654602</c:v>
                </c:pt>
                <c:pt idx="562">
                  <c:v>-0.184231997013399</c:v>
                </c:pt>
                <c:pt idx="563">
                  <c:v>-0.17619506328050702</c:v>
                </c:pt>
                <c:pt idx="564">
                  <c:v>-0.18064750653153103</c:v>
                </c:pt>
                <c:pt idx="565">
                  <c:v>-0.18064750653153103</c:v>
                </c:pt>
                <c:pt idx="566">
                  <c:v>-0.18064750653153103</c:v>
                </c:pt>
                <c:pt idx="567">
                  <c:v>-0.182458047922442</c:v>
                </c:pt>
                <c:pt idx="568">
                  <c:v>-0.180105463652047</c:v>
                </c:pt>
                <c:pt idx="569">
                  <c:v>-0.16988397997800997</c:v>
                </c:pt>
                <c:pt idx="570">
                  <c:v>-0.160913890765846</c:v>
                </c:pt>
                <c:pt idx="571">
                  <c:v>-0.154232634366651</c:v>
                </c:pt>
                <c:pt idx="572">
                  <c:v>-0.154232634366651</c:v>
                </c:pt>
                <c:pt idx="573">
                  <c:v>-0.154232634366651</c:v>
                </c:pt>
                <c:pt idx="574">
                  <c:v>-0.151992833162402</c:v>
                </c:pt>
                <c:pt idx="575">
                  <c:v>-0.160030803504357</c:v>
                </c:pt>
                <c:pt idx="576">
                  <c:v>-0.17131180530254897</c:v>
                </c:pt>
                <c:pt idx="577">
                  <c:v>-0.170282245180339</c:v>
                </c:pt>
                <c:pt idx="578">
                  <c:v>-0.170456810146691</c:v>
                </c:pt>
                <c:pt idx="579">
                  <c:v>-0.170456810146691</c:v>
                </c:pt>
                <c:pt idx="580">
                  <c:v>-0.170456810146691</c:v>
                </c:pt>
                <c:pt idx="581">
                  <c:v>-0.169415329020246</c:v>
                </c:pt>
                <c:pt idx="582">
                  <c:v>-0.163766949892265</c:v>
                </c:pt>
                <c:pt idx="583">
                  <c:v>-0.169125700447808</c:v>
                </c:pt>
                <c:pt idx="584">
                  <c:v>-0.155969783835841</c:v>
                </c:pt>
                <c:pt idx="585">
                  <c:v>-0.149721104398987</c:v>
                </c:pt>
                <c:pt idx="586">
                  <c:v>-0.149721104398987</c:v>
                </c:pt>
                <c:pt idx="587">
                  <c:v>-0.149721104398987</c:v>
                </c:pt>
                <c:pt idx="588">
                  <c:v>-0.147710393797849</c:v>
                </c:pt>
                <c:pt idx="589">
                  <c:v>-0.145946707136624</c:v>
                </c:pt>
                <c:pt idx="590">
                  <c:v>-0.152673159691003</c:v>
                </c:pt>
                <c:pt idx="591">
                  <c:v>-0.159666435418416</c:v>
                </c:pt>
                <c:pt idx="592">
                  <c:v>-0.170076063637541</c:v>
                </c:pt>
                <c:pt idx="593">
                  <c:v>-0.170076063637541</c:v>
                </c:pt>
                <c:pt idx="594">
                  <c:v>-0.170076063637541</c:v>
                </c:pt>
                <c:pt idx="595">
                  <c:v>-0.168288638628754</c:v>
                </c:pt>
                <c:pt idx="596">
                  <c:v>-0.184825352041543</c:v>
                </c:pt>
                <c:pt idx="597">
                  <c:v>-0.18139148085665202</c:v>
                </c:pt>
                <c:pt idx="598">
                  <c:v>-0.16616618157053298</c:v>
                </c:pt>
                <c:pt idx="599">
                  <c:v>-0.163028365934276</c:v>
                </c:pt>
                <c:pt idx="600">
                  <c:v>-0.163028365934276</c:v>
                </c:pt>
                <c:pt idx="601">
                  <c:v>-0.163028365934276</c:v>
                </c:pt>
                <c:pt idx="602">
                  <c:v>-0.16106305881013402</c:v>
                </c:pt>
                <c:pt idx="603">
                  <c:v>-0.169638925595318</c:v>
                </c:pt>
                <c:pt idx="604">
                  <c:v>-0.17164414216841797</c:v>
                </c:pt>
                <c:pt idx="605">
                  <c:v>-0.17559662886795</c:v>
                </c:pt>
                <c:pt idx="606">
                  <c:v>-0.161185378679667</c:v>
                </c:pt>
                <c:pt idx="607">
                  <c:v>-0.161185378679667</c:v>
                </c:pt>
                <c:pt idx="608">
                  <c:v>-0.161185378679667</c:v>
                </c:pt>
                <c:pt idx="609">
                  <c:v>-0.155718509798765</c:v>
                </c:pt>
                <c:pt idx="610">
                  <c:v>-0.160983343573124</c:v>
                </c:pt>
                <c:pt idx="611">
                  <c:v>-0.158744475317033</c:v>
                </c:pt>
                <c:pt idx="612">
                  <c:v>-0.161424213407977</c:v>
                </c:pt>
                <c:pt idx="613">
                  <c:v>-0.16177365432339902</c:v>
                </c:pt>
                <c:pt idx="614">
                  <c:v>-0.16177365432339902</c:v>
                </c:pt>
                <c:pt idx="615">
                  <c:v>-0.16177365432339902</c:v>
                </c:pt>
                <c:pt idx="616">
                  <c:v>-0.153001142798804</c:v>
                </c:pt>
                <c:pt idx="617">
                  <c:v>-0.155664709788352</c:v>
                </c:pt>
                <c:pt idx="618">
                  <c:v>-0.14983730827504402</c:v>
                </c:pt>
                <c:pt idx="619">
                  <c:v>-0.142056416980923</c:v>
                </c:pt>
                <c:pt idx="620">
                  <c:v>-0.145679469319965</c:v>
                </c:pt>
                <c:pt idx="621">
                  <c:v>-0.145679469319965</c:v>
                </c:pt>
                <c:pt idx="622">
                  <c:v>-0.145679469319965</c:v>
                </c:pt>
                <c:pt idx="623">
                  <c:v>-0.145925249329002</c:v>
                </c:pt>
                <c:pt idx="624">
                  <c:v>-0.154988944339631</c:v>
                </c:pt>
                <c:pt idx="625">
                  <c:v>-0.162555568540257</c:v>
                </c:pt>
                <c:pt idx="626">
                  <c:v>-0.144994789033296</c:v>
                </c:pt>
                <c:pt idx="627">
                  <c:v>-0.134095881336037</c:v>
                </c:pt>
                <c:pt idx="628">
                  <c:v>-0.134095881336037</c:v>
                </c:pt>
                <c:pt idx="629">
                  <c:v>-0.134095881336037</c:v>
                </c:pt>
                <c:pt idx="630">
                  <c:v>-0.135467833432035</c:v>
                </c:pt>
                <c:pt idx="631">
                  <c:v>-0.134442212424267</c:v>
                </c:pt>
                <c:pt idx="632">
                  <c:v>-0.147965503288461</c:v>
                </c:pt>
                <c:pt idx="633">
                  <c:v>-0.133327028393383</c:v>
                </c:pt>
                <c:pt idx="634">
                  <c:v>-0.121528758672333</c:v>
                </c:pt>
                <c:pt idx="635">
                  <c:v>-0.121528758672333</c:v>
                </c:pt>
                <c:pt idx="636">
                  <c:v>-0.121528758672333</c:v>
                </c:pt>
                <c:pt idx="637">
                  <c:v>-0.122616990867557</c:v>
                </c:pt>
                <c:pt idx="638">
                  <c:v>-0.122545257520339</c:v>
                </c:pt>
                <c:pt idx="639">
                  <c:v>-0.125971250476344</c:v>
                </c:pt>
                <c:pt idx="640">
                  <c:v>-0.117093730453582</c:v>
                </c:pt>
                <c:pt idx="641">
                  <c:v>-0.11699794777608201</c:v>
                </c:pt>
                <c:pt idx="642">
                  <c:v>-0.11699794777608201</c:v>
                </c:pt>
                <c:pt idx="643">
                  <c:v>-0.11699794777608201</c:v>
                </c:pt>
                <c:pt idx="644">
                  <c:v>-0.109891059695272</c:v>
                </c:pt>
                <c:pt idx="645">
                  <c:v>-0.0966003839050051</c:v>
                </c:pt>
                <c:pt idx="646">
                  <c:v>-0.09243072760659769</c:v>
                </c:pt>
                <c:pt idx="647">
                  <c:v>-0.08230461196643461</c:v>
                </c:pt>
                <c:pt idx="648">
                  <c:v>-0.0818402111058324</c:v>
                </c:pt>
                <c:pt idx="649">
                  <c:v>-0.0818402111058324</c:v>
                </c:pt>
                <c:pt idx="650">
                  <c:v>-0.0818402111058324</c:v>
                </c:pt>
                <c:pt idx="651">
                  <c:v>-0.085529710085867</c:v>
                </c:pt>
                <c:pt idx="652">
                  <c:v>-0.0879536130598542</c:v>
                </c:pt>
                <c:pt idx="653">
                  <c:v>-0.09390043193731619</c:v>
                </c:pt>
                <c:pt idx="654">
                  <c:v>-0.0940578928541141</c:v>
                </c:pt>
                <c:pt idx="655">
                  <c:v>-0.102371393885239</c:v>
                </c:pt>
                <c:pt idx="656">
                  <c:v>-0.102371393885239</c:v>
                </c:pt>
                <c:pt idx="657">
                  <c:v>-0.102371393885239</c:v>
                </c:pt>
                <c:pt idx="658">
                  <c:v>-0.10928215553117</c:v>
                </c:pt>
                <c:pt idx="659">
                  <c:v>-0.100558675615295</c:v>
                </c:pt>
                <c:pt idx="660">
                  <c:v>-0.10761673940919801</c:v>
                </c:pt>
                <c:pt idx="661">
                  <c:v>-0.107688265434603</c:v>
                </c:pt>
                <c:pt idx="662">
                  <c:v>-0.09366854248973419</c:v>
                </c:pt>
                <c:pt idx="663">
                  <c:v>-0.09366854248973419</c:v>
                </c:pt>
                <c:pt idx="664">
                  <c:v>-0.09366854248973419</c:v>
                </c:pt>
                <c:pt idx="665">
                  <c:v>-0.0858916939709615</c:v>
                </c:pt>
                <c:pt idx="666">
                  <c:v>-0.08542418328316771</c:v>
                </c:pt>
                <c:pt idx="667">
                  <c:v>-0.0902152867153497</c:v>
                </c:pt>
                <c:pt idx="668">
                  <c:v>-0.10083835274071999</c:v>
                </c:pt>
                <c:pt idx="669">
                  <c:v>-0.0957919324961129</c:v>
                </c:pt>
                <c:pt idx="670">
                  <c:v>-0.0957919324961129</c:v>
                </c:pt>
                <c:pt idx="671">
                  <c:v>-0.0957919324961129</c:v>
                </c:pt>
                <c:pt idx="672">
                  <c:v>-0.09139069773284281</c:v>
                </c:pt>
                <c:pt idx="673">
                  <c:v>-0.08128085685498201</c:v>
                </c:pt>
                <c:pt idx="674">
                  <c:v>-0.0643186154214848</c:v>
                </c:pt>
                <c:pt idx="675">
                  <c:v>-0.0484082212050704</c:v>
                </c:pt>
                <c:pt idx="676">
                  <c:v>-0.052810077933778905</c:v>
                </c:pt>
                <c:pt idx="677">
                  <c:v>-0.052810077933778905</c:v>
                </c:pt>
                <c:pt idx="678">
                  <c:v>-0.052810077933778905</c:v>
                </c:pt>
                <c:pt idx="679">
                  <c:v>-0.049836668495047906</c:v>
                </c:pt>
                <c:pt idx="680">
                  <c:v>-0.046822105676482303</c:v>
                </c:pt>
                <c:pt idx="681">
                  <c:v>-0.0474812853801809</c:v>
                </c:pt>
                <c:pt idx="682">
                  <c:v>-0.06438433643613249</c:v>
                </c:pt>
                <c:pt idx="683">
                  <c:v>-0.07047358539896681</c:v>
                </c:pt>
                <c:pt idx="684">
                  <c:v>-0.07047358539896681</c:v>
                </c:pt>
                <c:pt idx="685">
                  <c:v>-0.07047358539896681</c:v>
                </c:pt>
                <c:pt idx="686">
                  <c:v>-0.0721167144260664</c:v>
                </c:pt>
                <c:pt idx="687">
                  <c:v>-0.062198438903204</c:v>
                </c:pt>
                <c:pt idx="688">
                  <c:v>-0.064614463648306</c:v>
                </c:pt>
                <c:pt idx="689">
                  <c:v>-0.0640305417626425</c:v>
                </c:pt>
                <c:pt idx="690">
                  <c:v>-0.0544207610971802</c:v>
                </c:pt>
                <c:pt idx="691">
                  <c:v>-0.0544207610971802</c:v>
                </c:pt>
                <c:pt idx="692">
                  <c:v>-0.0544207610971802</c:v>
                </c:pt>
                <c:pt idx="693">
                  <c:v>-0.051476169390424105</c:v>
                </c:pt>
                <c:pt idx="694">
                  <c:v>-0.056346988059615695</c:v>
                </c:pt>
                <c:pt idx="695">
                  <c:v>-0.0767800039606764</c:v>
                </c:pt>
                <c:pt idx="696">
                  <c:v>-0.0791607839976076</c:v>
                </c:pt>
                <c:pt idx="697">
                  <c:v>-0.0802195764954182</c:v>
                </c:pt>
                <c:pt idx="698">
                  <c:v>-0.0802195764954182</c:v>
                </c:pt>
                <c:pt idx="699">
                  <c:v>-0.0802195764954182</c:v>
                </c:pt>
                <c:pt idx="700">
                  <c:v>-0.0770034968748412</c:v>
                </c:pt>
                <c:pt idx="701">
                  <c:v>-0.0885033268464108</c:v>
                </c:pt>
                <c:pt idx="702">
                  <c:v>-0.0948672772111638</c:v>
                </c:pt>
                <c:pt idx="703">
                  <c:v>-0.09688037201314939</c:v>
                </c:pt>
                <c:pt idx="704">
                  <c:v>-0.1046065303487</c:v>
                </c:pt>
                <c:pt idx="705">
                  <c:v>-0.1046065303487</c:v>
                </c:pt>
                <c:pt idx="706">
                  <c:v>-0.1046065303487</c:v>
                </c:pt>
                <c:pt idx="707">
                  <c:v>-0.099622306647924</c:v>
                </c:pt>
                <c:pt idx="708">
                  <c:v>-0.11357496098636201</c:v>
                </c:pt>
                <c:pt idx="709">
                  <c:v>-0.12238955883894899</c:v>
                </c:pt>
                <c:pt idx="710">
                  <c:v>-0.127299146687129</c:v>
                </c:pt>
                <c:pt idx="711">
                  <c:v>-0.130611319967924</c:v>
                </c:pt>
                <c:pt idx="712">
                  <c:v>-0.130611319967924</c:v>
                </c:pt>
                <c:pt idx="713">
                  <c:v>-0.130611319967924</c:v>
                </c:pt>
                <c:pt idx="714">
                  <c:v>-0.118783403227648</c:v>
                </c:pt>
                <c:pt idx="715">
                  <c:v>-0.12141359140534</c:v>
                </c:pt>
                <c:pt idx="716">
                  <c:v>-0.109000819831243</c:v>
                </c:pt>
                <c:pt idx="717">
                  <c:v>-0.11618400233915199</c:v>
                </c:pt>
                <c:pt idx="718">
                  <c:v>-0.11514407612630301</c:v>
                </c:pt>
                <c:pt idx="719">
                  <c:v>-0.11514407612630301</c:v>
                </c:pt>
                <c:pt idx="720">
                  <c:v>-0.11514407612630301</c:v>
                </c:pt>
                <c:pt idx="721">
                  <c:v>-0.106911534263064</c:v>
                </c:pt>
                <c:pt idx="722">
                  <c:v>-0.09012914450214421</c:v>
                </c:pt>
                <c:pt idx="723">
                  <c:v>-0.08871002669374141</c:v>
                </c:pt>
                <c:pt idx="724">
                  <c:v>-0.091900398409535</c:v>
                </c:pt>
                <c:pt idx="725">
                  <c:v>-0.0921761364205176</c:v>
                </c:pt>
                <c:pt idx="726">
                  <c:v>-0.0921761364205176</c:v>
                </c:pt>
                <c:pt idx="727">
                  <c:v>-0.0921761364205176</c:v>
                </c:pt>
                <c:pt idx="728">
                  <c:v>-0.0904663534306128</c:v>
                </c:pt>
                <c:pt idx="729">
                  <c:v>-0.096566383127711</c:v>
                </c:pt>
                <c:pt idx="730">
                  <c:v>-0.10456983438784001</c:v>
                </c:pt>
                <c:pt idx="731">
                  <c:v>-0.115184814862512</c:v>
                </c:pt>
                <c:pt idx="732">
                  <c:v>-0.11935457482182599</c:v>
                </c:pt>
                <c:pt idx="733">
                  <c:v>-0.11935457482182599</c:v>
                </c:pt>
                <c:pt idx="734">
                  <c:v>-0.11935457482182599</c:v>
                </c:pt>
                <c:pt idx="735">
                  <c:v>-0.109688402623291</c:v>
                </c:pt>
                <c:pt idx="736">
                  <c:v>-0.117376310084385</c:v>
                </c:pt>
                <c:pt idx="737">
                  <c:v>-0.114868545437133</c:v>
                </c:pt>
                <c:pt idx="738">
                  <c:v>-0.107042665309641</c:v>
                </c:pt>
                <c:pt idx="739">
                  <c:v>-0.11810660116986399</c:v>
                </c:pt>
                <c:pt idx="740">
                  <c:v>-0.11810660116986399</c:v>
                </c:pt>
                <c:pt idx="741">
                  <c:v>-0.11810660116986399</c:v>
                </c:pt>
                <c:pt idx="742">
                  <c:v>-0.11664052497086899</c:v>
                </c:pt>
                <c:pt idx="743">
                  <c:v>-0.12032328599198801</c:v>
                </c:pt>
                <c:pt idx="744">
                  <c:v>-0.127211967864859</c:v>
                </c:pt>
                <c:pt idx="745">
                  <c:v>-0.14037897619381</c:v>
                </c:pt>
                <c:pt idx="746">
                  <c:v>-0.139616550227352</c:v>
                </c:pt>
                <c:pt idx="747">
                  <c:v>-0.139616550227352</c:v>
                </c:pt>
                <c:pt idx="748">
                  <c:v>-0.139616550227352</c:v>
                </c:pt>
                <c:pt idx="749">
                  <c:v>-0.14279945835788602</c:v>
                </c:pt>
                <c:pt idx="750">
                  <c:v>-0.153619272783574</c:v>
                </c:pt>
                <c:pt idx="751">
                  <c:v>-0.154182877131586</c:v>
                </c:pt>
                <c:pt idx="752">
                  <c:v>-0.144920153180699</c:v>
                </c:pt>
                <c:pt idx="753">
                  <c:v>-0.139671179525017</c:v>
                </c:pt>
                <c:pt idx="754">
                  <c:v>-0.139671179525017</c:v>
                </c:pt>
                <c:pt idx="755">
                  <c:v>-0.139671179525017</c:v>
                </c:pt>
                <c:pt idx="756">
                  <c:v>-0.14537771242148</c:v>
                </c:pt>
                <c:pt idx="757">
                  <c:v>-0.160285083707718</c:v>
                </c:pt>
                <c:pt idx="758">
                  <c:v>-0.156897237965262</c:v>
                </c:pt>
                <c:pt idx="759">
                  <c:v>-0.157013960145851</c:v>
                </c:pt>
                <c:pt idx="760">
                  <c:v>-0.142131882120771</c:v>
                </c:pt>
                <c:pt idx="761">
                  <c:v>-0.142131882120771</c:v>
                </c:pt>
                <c:pt idx="762">
                  <c:v>-0.142131882120771</c:v>
                </c:pt>
                <c:pt idx="763">
                  <c:v>-0.142076319874948</c:v>
                </c:pt>
                <c:pt idx="764">
                  <c:v>-0.130846111920885</c:v>
                </c:pt>
                <c:pt idx="765">
                  <c:v>-0.124878249879427</c:v>
                </c:pt>
                <c:pt idx="766">
                  <c:v>-0.127106959366692</c:v>
                </c:pt>
                <c:pt idx="767">
                  <c:v>-0.138922955102734</c:v>
                </c:pt>
                <c:pt idx="768">
                  <c:v>-0.138922955102734</c:v>
                </c:pt>
                <c:pt idx="769">
                  <c:v>-0.138922955102734</c:v>
                </c:pt>
                <c:pt idx="770">
                  <c:v>-0.133144896180866</c:v>
                </c:pt>
                <c:pt idx="771">
                  <c:v>-0.133632724406311</c:v>
                </c:pt>
                <c:pt idx="772">
                  <c:v>-0.152125726444387</c:v>
                </c:pt>
                <c:pt idx="773">
                  <c:v>-0.159692765288638</c:v>
                </c:pt>
                <c:pt idx="774">
                  <c:v>-0.170655942747855</c:v>
                </c:pt>
                <c:pt idx="775">
                  <c:v>-0.170655942747855</c:v>
                </c:pt>
                <c:pt idx="776">
                  <c:v>-0.170655942747855</c:v>
                </c:pt>
                <c:pt idx="777">
                  <c:v>-0.16878973545021603</c:v>
                </c:pt>
                <c:pt idx="778">
                  <c:v>-0.163902331036003</c:v>
                </c:pt>
                <c:pt idx="779">
                  <c:v>-0.179829103675626</c:v>
                </c:pt>
                <c:pt idx="780">
                  <c:v>-0.187334775263297</c:v>
                </c:pt>
                <c:pt idx="781">
                  <c:v>-0.189610650462968</c:v>
                </c:pt>
                <c:pt idx="782">
                  <c:v>-0.189610650462968</c:v>
                </c:pt>
                <c:pt idx="783">
                  <c:v>-0.189610650462968</c:v>
                </c:pt>
                <c:pt idx="784">
                  <c:v>-0.191049878487209</c:v>
                </c:pt>
                <c:pt idx="785">
                  <c:v>-0.193077796798808</c:v>
                </c:pt>
                <c:pt idx="786">
                  <c:v>-0.1860407761689</c:v>
                </c:pt>
                <c:pt idx="787">
                  <c:v>-0.171565670862285</c:v>
                </c:pt>
                <c:pt idx="788">
                  <c:v>-0.16159525390351098</c:v>
                </c:pt>
                <c:pt idx="789">
                  <c:v>-0.16159525390351098</c:v>
                </c:pt>
                <c:pt idx="790">
                  <c:v>-0.16159525390351098</c:v>
                </c:pt>
                <c:pt idx="791">
                  <c:v>-0.15834030144304</c:v>
                </c:pt>
                <c:pt idx="792">
                  <c:v>-0.15714840834143198</c:v>
                </c:pt>
                <c:pt idx="793">
                  <c:v>-0.154278763469992</c:v>
                </c:pt>
                <c:pt idx="794">
                  <c:v>-0.152010559177394</c:v>
                </c:pt>
                <c:pt idx="795">
                  <c:v>-0.144533290678072</c:v>
                </c:pt>
                <c:pt idx="796">
                  <c:v>-0.144533290678072</c:v>
                </c:pt>
                <c:pt idx="797">
                  <c:v>-0.144533290678072</c:v>
                </c:pt>
                <c:pt idx="798">
                  <c:v>-0.144499704544404</c:v>
                </c:pt>
                <c:pt idx="799">
                  <c:v>-0.126260671726969</c:v>
                </c:pt>
                <c:pt idx="800">
                  <c:v>-0.124491491037706</c:v>
                </c:pt>
                <c:pt idx="801">
                  <c:v>-0.126241909102914</c:v>
                </c:pt>
                <c:pt idx="802">
                  <c:v>-0.12146044613502599</c:v>
                </c:pt>
                <c:pt idx="803">
                  <c:v>-0.12146044613502599</c:v>
                </c:pt>
                <c:pt idx="804">
                  <c:v>-0.12146044613502599</c:v>
                </c:pt>
                <c:pt idx="805">
                  <c:v>-0.11268648335774101</c:v>
                </c:pt>
                <c:pt idx="806">
                  <c:v>-0.12004796262463101</c:v>
                </c:pt>
                <c:pt idx="807">
                  <c:v>-0.122003007319042</c:v>
                </c:pt>
                <c:pt idx="808">
                  <c:v>-0.12026513222350699</c:v>
                </c:pt>
                <c:pt idx="809">
                  <c:v>-0.12276076854471199</c:v>
                </c:pt>
                <c:pt idx="810">
                  <c:v>-0.12276076854471199</c:v>
                </c:pt>
                <c:pt idx="811">
                  <c:v>-0.12276076854471199</c:v>
                </c:pt>
                <c:pt idx="812">
                  <c:v>-0.124172630089668</c:v>
                </c:pt>
                <c:pt idx="813">
                  <c:v>-0.121827820387252</c:v>
                </c:pt>
                <c:pt idx="814">
                  <c:v>-0.121205543966226</c:v>
                </c:pt>
                <c:pt idx="815">
                  <c:v>-0.123086782095291</c:v>
                </c:pt>
                <c:pt idx="816">
                  <c:v>-0.12178832558191999</c:v>
                </c:pt>
                <c:pt idx="817">
                  <c:v>-0.12178832558191999</c:v>
                </c:pt>
                <c:pt idx="818">
                  <c:v>-0.12178832558191999</c:v>
                </c:pt>
                <c:pt idx="819">
                  <c:v>-0.132613426713833</c:v>
                </c:pt>
                <c:pt idx="820">
                  <c:v>-0.133700829621806</c:v>
                </c:pt>
                <c:pt idx="821">
                  <c:v>-0.13603019384917</c:v>
                </c:pt>
                <c:pt idx="822">
                  <c:v>-0.128976483813335</c:v>
                </c:pt>
                <c:pt idx="823">
                  <c:v>-0.12336189814083501</c:v>
                </c:pt>
                <c:pt idx="824">
                  <c:v>-0.12336189814083501</c:v>
                </c:pt>
                <c:pt idx="825">
                  <c:v>-0.12336189814083501</c:v>
                </c:pt>
                <c:pt idx="826">
                  <c:v>-0.127569597991886</c:v>
                </c:pt>
                <c:pt idx="827">
                  <c:v>-0.12087382906579601</c:v>
                </c:pt>
                <c:pt idx="828">
                  <c:v>-0.110718688371845</c:v>
                </c:pt>
                <c:pt idx="829">
                  <c:v>-0.1041242998122</c:v>
                </c:pt>
                <c:pt idx="830">
                  <c:v>-0.10170537256171899</c:v>
                </c:pt>
                <c:pt idx="831">
                  <c:v>-0.10170537256171899</c:v>
                </c:pt>
                <c:pt idx="832">
                  <c:v>-0.10170537256171899</c:v>
                </c:pt>
                <c:pt idx="833">
                  <c:v>-0.0965216016161529</c:v>
                </c:pt>
                <c:pt idx="834">
                  <c:v>-0.0901016743619524</c:v>
                </c:pt>
                <c:pt idx="835">
                  <c:v>-0.09854143437705361</c:v>
                </c:pt>
                <c:pt idx="836">
                  <c:v>-0.08970506773412551</c:v>
                </c:pt>
                <c:pt idx="837">
                  <c:v>-0.0914340279917114</c:v>
                </c:pt>
                <c:pt idx="838">
                  <c:v>-0.0914340279917114</c:v>
                </c:pt>
                <c:pt idx="839">
                  <c:v>-0.0914340279917114</c:v>
                </c:pt>
                <c:pt idx="840">
                  <c:v>-0.0913718314478808</c:v>
                </c:pt>
                <c:pt idx="841">
                  <c:v>-0.0886558120397023</c:v>
                </c:pt>
                <c:pt idx="842">
                  <c:v>-0.0825740266621278</c:v>
                </c:pt>
                <c:pt idx="843">
                  <c:v>-0.0796235262837077</c:v>
                </c:pt>
                <c:pt idx="844">
                  <c:v>-0.0841240681952942</c:v>
                </c:pt>
                <c:pt idx="845">
                  <c:v>-0.0841240681952942</c:v>
                </c:pt>
                <c:pt idx="846">
                  <c:v>-0.0841240681952942</c:v>
                </c:pt>
                <c:pt idx="847">
                  <c:v>-0.0841240681952942</c:v>
                </c:pt>
                <c:pt idx="848">
                  <c:v>-0.095851019212752</c:v>
                </c:pt>
                <c:pt idx="849">
                  <c:v>-0.10564459066523399</c:v>
                </c:pt>
                <c:pt idx="850">
                  <c:v>-0.104822870660325</c:v>
                </c:pt>
                <c:pt idx="851">
                  <c:v>-0.103072556256023</c:v>
                </c:pt>
                <c:pt idx="852">
                  <c:v>-0.103072556256023</c:v>
                </c:pt>
                <c:pt idx="853">
                  <c:v>-0.103072556256023</c:v>
                </c:pt>
                <c:pt idx="854">
                  <c:v>-0.0901825298689322</c:v>
                </c:pt>
                <c:pt idx="855">
                  <c:v>-0.0920471822529753</c:v>
                </c:pt>
                <c:pt idx="856">
                  <c:v>-0.0881621788034996</c:v>
                </c:pt>
                <c:pt idx="857">
                  <c:v>-0.08987393135062581</c:v>
                </c:pt>
                <c:pt idx="858">
                  <c:v>-0.0911423262011456</c:v>
                </c:pt>
                <c:pt idx="859">
                  <c:v>-0.0911423262011456</c:v>
                </c:pt>
                <c:pt idx="860">
                  <c:v>-0.0911423262011456</c:v>
                </c:pt>
                <c:pt idx="861">
                  <c:v>-0.0919881991972426</c:v>
                </c:pt>
                <c:pt idx="862">
                  <c:v>-0.0915536526776791</c:v>
                </c:pt>
                <c:pt idx="863">
                  <c:v>-0.0989293334887441</c:v>
                </c:pt>
                <c:pt idx="864">
                  <c:v>-0.08872298430703941</c:v>
                </c:pt>
                <c:pt idx="865">
                  <c:v>-0.0798445313361193</c:v>
                </c:pt>
                <c:pt idx="866">
                  <c:v>-0.0798445313361193</c:v>
                </c:pt>
                <c:pt idx="867">
                  <c:v>-0.0798445313361193</c:v>
                </c:pt>
                <c:pt idx="868">
                  <c:v>-0.07789560263518559</c:v>
                </c:pt>
                <c:pt idx="869">
                  <c:v>-0.0699248045605676</c:v>
                </c:pt>
                <c:pt idx="870">
                  <c:v>-0.06310350227684651</c:v>
                </c:pt>
                <c:pt idx="871">
                  <c:v>-0.0608780062776792</c:v>
                </c:pt>
                <c:pt idx="872">
                  <c:v>-0.061705323971533305</c:v>
                </c:pt>
                <c:pt idx="873">
                  <c:v>-0.061705323971533305</c:v>
                </c:pt>
                <c:pt idx="874">
                  <c:v>-0.061705323971533305</c:v>
                </c:pt>
                <c:pt idx="875">
                  <c:v>-0.054504830092258</c:v>
                </c:pt>
                <c:pt idx="876">
                  <c:v>-0.054527946474381694</c:v>
                </c:pt>
                <c:pt idx="877">
                  <c:v>-0.0668365388375626</c:v>
                </c:pt>
                <c:pt idx="878">
                  <c:v>-0.0572649053856498</c:v>
                </c:pt>
                <c:pt idx="879">
                  <c:v>-0.0314031678172365</c:v>
                </c:pt>
                <c:pt idx="880">
                  <c:v>-0.0314031678172365</c:v>
                </c:pt>
                <c:pt idx="881">
                  <c:v>-0.0314031678172365</c:v>
                </c:pt>
                <c:pt idx="882">
                  <c:v>-0.0351547596801954</c:v>
                </c:pt>
                <c:pt idx="883">
                  <c:v>-0.032566761491401704</c:v>
                </c:pt>
                <c:pt idx="884">
                  <c:v>-0.0180444904723813</c:v>
                </c:pt>
                <c:pt idx="885">
                  <c:v>-0.016034194514868</c:v>
                </c:pt>
                <c:pt idx="886">
                  <c:v>-0.00978271623354216</c:v>
                </c:pt>
                <c:pt idx="887">
                  <c:v>-0.00978271623354216</c:v>
                </c:pt>
                <c:pt idx="888">
                  <c:v>-0.00978271623354216</c:v>
                </c:pt>
                <c:pt idx="889">
                  <c:v>-0.00909565174602616</c:v>
                </c:pt>
                <c:pt idx="890">
                  <c:v>-0.0251268109183784</c:v>
                </c:pt>
                <c:pt idx="891">
                  <c:v>-0.0145066473983871</c:v>
                </c:pt>
                <c:pt idx="892">
                  <c:v>-0.00922284367815986</c:v>
                </c:pt>
                <c:pt idx="893">
                  <c:v>-0.00970579984100492</c:v>
                </c:pt>
                <c:pt idx="894">
                  <c:v>-0.00970579984100492</c:v>
                </c:pt>
                <c:pt idx="895">
                  <c:v>-0.00970579984100492</c:v>
                </c:pt>
                <c:pt idx="896">
                  <c:v>-0.012302505545934901</c:v>
                </c:pt>
                <c:pt idx="897">
                  <c:v>-0.022882966938781002</c:v>
                </c:pt>
                <c:pt idx="898">
                  <c:v>-0.0221769325053966</c:v>
                </c:pt>
                <c:pt idx="899">
                  <c:v>0.012600161316609699</c:v>
                </c:pt>
                <c:pt idx="900">
                  <c:v>0.0113464863147964</c:v>
                </c:pt>
                <c:pt idx="901">
                  <c:v>0.0113464863147964</c:v>
                </c:pt>
                <c:pt idx="902">
                  <c:v>0.0113464863147964</c:v>
                </c:pt>
                <c:pt idx="903">
                  <c:v>0.0153502851629886</c:v>
                </c:pt>
                <c:pt idx="904">
                  <c:v>0.0181873805098241</c:v>
                </c:pt>
                <c:pt idx="905">
                  <c:v>0.014529705428049499</c:v>
                </c:pt>
                <c:pt idx="906">
                  <c:v>0.0217854505704277</c:v>
                </c:pt>
                <c:pt idx="907">
                  <c:v>0.0365829412958988</c:v>
                </c:pt>
                <c:pt idx="908">
                  <c:v>0.0365829412958988</c:v>
                </c:pt>
                <c:pt idx="909">
                  <c:v>0.0365829412958988</c:v>
                </c:pt>
                <c:pt idx="910">
                  <c:v>0.0418476714093513</c:v>
                </c:pt>
                <c:pt idx="911">
                  <c:v>0.0225870603594985</c:v>
                </c:pt>
                <c:pt idx="912">
                  <c:v>0.0399942144031976</c:v>
                </c:pt>
                <c:pt idx="913">
                  <c:v>0.056544507394723095</c:v>
                </c:pt>
                <c:pt idx="914">
                  <c:v>0.0455037915775301</c:v>
                </c:pt>
                <c:pt idx="915">
                  <c:v>0.0455037915775301</c:v>
                </c:pt>
                <c:pt idx="916">
                  <c:v>0.0455037915775301</c:v>
                </c:pt>
                <c:pt idx="917">
                  <c:v>0.0369256442524057</c:v>
                </c:pt>
                <c:pt idx="918">
                  <c:v>0.0609685475573978</c:v>
                </c:pt>
                <c:pt idx="919">
                  <c:v>0.0561964140710842</c:v>
                </c:pt>
                <c:pt idx="920">
                  <c:v>0.0435434601768942</c:v>
                </c:pt>
                <c:pt idx="921">
                  <c:v>0.039048515954252495</c:v>
                </c:pt>
                <c:pt idx="922">
                  <c:v>0.039048515954252495</c:v>
                </c:pt>
                <c:pt idx="923">
                  <c:v>0.039048515954252495</c:v>
                </c:pt>
                <c:pt idx="924">
                  <c:v>0.0473811942530586</c:v>
                </c:pt>
                <c:pt idx="925">
                  <c:v>0.0511490608783199</c:v>
                </c:pt>
                <c:pt idx="926">
                  <c:v>0.0667484723755809</c:v>
                </c:pt>
                <c:pt idx="927">
                  <c:v>0.075111626980864</c:v>
                </c:pt>
                <c:pt idx="928">
                  <c:v>0.0764762191525087</c:v>
                </c:pt>
                <c:pt idx="929">
                  <c:v>0.0764762191525087</c:v>
                </c:pt>
                <c:pt idx="930">
                  <c:v>0.0764762191525087</c:v>
                </c:pt>
                <c:pt idx="931">
                  <c:v>0.07541867058557469</c:v>
                </c:pt>
                <c:pt idx="932">
                  <c:v>0.0682742572566534</c:v>
                </c:pt>
                <c:pt idx="933">
                  <c:v>0.0648924238467677</c:v>
                </c:pt>
                <c:pt idx="934">
                  <c:v>0.0653735141132978</c:v>
                </c:pt>
                <c:pt idx="935">
                  <c:v>0.06540222818436629</c:v>
                </c:pt>
                <c:pt idx="936">
                  <c:v>0.06540222818436629</c:v>
                </c:pt>
                <c:pt idx="937">
                  <c:v>0.06540222818436629</c:v>
                </c:pt>
                <c:pt idx="938">
                  <c:v>0.0648712770218653</c:v>
                </c:pt>
                <c:pt idx="939">
                  <c:v>0.062099384385145596</c:v>
                </c:pt>
                <c:pt idx="940">
                  <c:v>0.0674855014199742</c:v>
                </c:pt>
                <c:pt idx="941">
                  <c:v>0.059304375366302196</c:v>
                </c:pt>
                <c:pt idx="942">
                  <c:v>0.0669456354195241</c:v>
                </c:pt>
                <c:pt idx="943">
                  <c:v>0.0669456354195241</c:v>
                </c:pt>
                <c:pt idx="944">
                  <c:v>0.0669456354195241</c:v>
                </c:pt>
                <c:pt idx="945">
                  <c:v>0.070445642262688</c:v>
                </c:pt>
                <c:pt idx="946">
                  <c:v>0.06751069102022561</c:v>
                </c:pt>
                <c:pt idx="947">
                  <c:v>0.0681116132945362</c:v>
                </c:pt>
                <c:pt idx="948">
                  <c:v>0.0805873070388088</c:v>
                </c:pt>
                <c:pt idx="949">
                  <c:v>0.058009546984654305</c:v>
                </c:pt>
                <c:pt idx="950">
                  <c:v>0.058009546984654305</c:v>
                </c:pt>
                <c:pt idx="951">
                  <c:v>0.058009546984654305</c:v>
                </c:pt>
                <c:pt idx="952">
                  <c:v>0.040839258112043496</c:v>
                </c:pt>
                <c:pt idx="953">
                  <c:v>0.0358703762254122</c:v>
                </c:pt>
                <c:pt idx="954">
                  <c:v>0.024493177106095398</c:v>
                </c:pt>
                <c:pt idx="955">
                  <c:v>0.0237040066257907</c:v>
                </c:pt>
                <c:pt idx="956">
                  <c:v>0.0010894469498697</c:v>
                </c:pt>
                <c:pt idx="957">
                  <c:v>0.0010894469498697</c:v>
                </c:pt>
                <c:pt idx="958">
                  <c:v>0.0010894469498697</c:v>
                </c:pt>
                <c:pt idx="959">
                  <c:v>0.0161329250061911</c:v>
                </c:pt>
                <c:pt idx="960">
                  <c:v>0.0327482133860195</c:v>
                </c:pt>
                <c:pt idx="961">
                  <c:v>0.0269726423259046</c:v>
                </c:pt>
                <c:pt idx="962">
                  <c:v>0.020392040666808203</c:v>
                </c:pt>
                <c:pt idx="963">
                  <c:v>0.041220833908444596</c:v>
                </c:pt>
                <c:pt idx="964">
                  <c:v>0.041220833908444596</c:v>
                </c:pt>
                <c:pt idx="965">
                  <c:v>0.041220833908444596</c:v>
                </c:pt>
                <c:pt idx="966">
                  <c:v>0.0416161966053948</c:v>
                </c:pt>
                <c:pt idx="967">
                  <c:v>0.0284014005986012</c:v>
                </c:pt>
                <c:pt idx="968">
                  <c:v>0.0209342908681051</c:v>
                </c:pt>
                <c:pt idx="969">
                  <c:v>0.0339783573620836</c:v>
                </c:pt>
                <c:pt idx="970">
                  <c:v>0.05164849912528</c:v>
                </c:pt>
                <c:pt idx="971">
                  <c:v>0.05164849912528</c:v>
                </c:pt>
                <c:pt idx="972">
                  <c:v>0.05164849912528</c:v>
                </c:pt>
                <c:pt idx="973">
                  <c:v>0.0667447405829511</c:v>
                </c:pt>
                <c:pt idx="974">
                  <c:v>0.0641994506875878</c:v>
                </c:pt>
                <c:pt idx="975">
                  <c:v>0.06597174120404241</c:v>
                </c:pt>
                <c:pt idx="976">
                  <c:v>0.0681103693636596</c:v>
                </c:pt>
                <c:pt idx="977">
                  <c:v>0.0720611974886894</c:v>
                </c:pt>
                <c:pt idx="978">
                  <c:v>0.0720611974886894</c:v>
                </c:pt>
                <c:pt idx="979">
                  <c:v>0.0720611974886894</c:v>
                </c:pt>
                <c:pt idx="980">
                  <c:v>0.0754986968053035</c:v>
                </c:pt>
                <c:pt idx="981">
                  <c:v>0.0864515081738824</c:v>
                </c:pt>
                <c:pt idx="982">
                  <c:v>0.100920186504302</c:v>
                </c:pt>
                <c:pt idx="983">
                  <c:v>0.0958031731824475</c:v>
                </c:pt>
                <c:pt idx="984">
                  <c:v>0.09318666824439809</c:v>
                </c:pt>
                <c:pt idx="985">
                  <c:v>0.09318666824439809</c:v>
                </c:pt>
                <c:pt idx="986">
                  <c:v>0.09318666824439809</c:v>
                </c:pt>
                <c:pt idx="987">
                  <c:v>0.0980028576159251</c:v>
                </c:pt>
                <c:pt idx="988">
                  <c:v>0.0968181171168574</c:v>
                </c:pt>
                <c:pt idx="989">
                  <c:v>0.0964818411365464</c:v>
                </c:pt>
                <c:pt idx="990">
                  <c:v>0.103858869539394</c:v>
                </c:pt>
                <c:pt idx="991">
                  <c:v>0.11863707933627801</c:v>
                </c:pt>
                <c:pt idx="992">
                  <c:v>0.11863707933627801</c:v>
                </c:pt>
                <c:pt idx="993">
                  <c:v>0.11863707933627801</c:v>
                </c:pt>
                <c:pt idx="994">
                  <c:v>0.123365778902817</c:v>
                </c:pt>
                <c:pt idx="995">
                  <c:v>0.136675113656233</c:v>
                </c:pt>
                <c:pt idx="996">
                  <c:v>0.124001531241672</c:v>
                </c:pt>
                <c:pt idx="997">
                  <c:v>0.111643285304333</c:v>
                </c:pt>
                <c:pt idx="998">
                  <c:v>0.10866096102765299</c:v>
                </c:pt>
                <c:pt idx="999">
                  <c:v>0.10866096102765299</c:v>
                </c:pt>
                <c:pt idx="1000">
                  <c:v>0.10866096102765299</c:v>
                </c:pt>
                <c:pt idx="1001">
                  <c:v>0.12538778854275098</c:v>
                </c:pt>
                <c:pt idx="1002">
                  <c:v>0.124880575727812</c:v>
                </c:pt>
                <c:pt idx="1003">
                  <c:v>0.147323680264573</c:v>
                </c:pt>
                <c:pt idx="1004">
                  <c:v>0.146190666557792</c:v>
                </c:pt>
                <c:pt idx="1005">
                  <c:v>0.142040083866159</c:v>
                </c:pt>
                <c:pt idx="1006">
                  <c:v>0.142040083866159</c:v>
                </c:pt>
                <c:pt idx="1007">
                  <c:v>0.142040083866159</c:v>
                </c:pt>
                <c:pt idx="1008">
                  <c:v>0.145679929272036</c:v>
                </c:pt>
                <c:pt idx="1009">
                  <c:v>0.142672726377823</c:v>
                </c:pt>
                <c:pt idx="1010">
                  <c:v>0.158339310142421</c:v>
                </c:pt>
                <c:pt idx="1011">
                  <c:v>0.159798130077969</c:v>
                </c:pt>
                <c:pt idx="1012">
                  <c:v>0.15942837162489598</c:v>
                </c:pt>
                <c:pt idx="1013">
                  <c:v>0.15942837162489598</c:v>
                </c:pt>
                <c:pt idx="1014">
                  <c:v>0.15942837162489598</c:v>
                </c:pt>
                <c:pt idx="1015">
                  <c:v>0.16662119459709898</c:v>
                </c:pt>
                <c:pt idx="1016">
                  <c:v>0.17561699171404602</c:v>
                </c:pt>
                <c:pt idx="1017">
                  <c:v>0.17887225515723698</c:v>
                </c:pt>
                <c:pt idx="1018">
                  <c:v>0.166527899781353</c:v>
                </c:pt>
                <c:pt idx="1019">
                  <c:v>0.151039094471204</c:v>
                </c:pt>
                <c:pt idx="1020">
                  <c:v>0.151039094471204</c:v>
                </c:pt>
                <c:pt idx="1021">
                  <c:v>0.151039094471204</c:v>
                </c:pt>
                <c:pt idx="1022">
                  <c:v>0.134296821481055</c:v>
                </c:pt>
                <c:pt idx="1023">
                  <c:v>0.15024494826739299</c:v>
                </c:pt>
                <c:pt idx="1024">
                  <c:v>0.153877019105291</c:v>
                </c:pt>
                <c:pt idx="1025">
                  <c:v>0.147440402445162</c:v>
                </c:pt>
                <c:pt idx="1026">
                  <c:v>0.139449494154706</c:v>
                </c:pt>
                <c:pt idx="1027">
                  <c:v>0.139449494154706</c:v>
                </c:pt>
                <c:pt idx="1028">
                  <c:v>0.139449494154706</c:v>
                </c:pt>
                <c:pt idx="1029">
                  <c:v>0.146802369566366</c:v>
                </c:pt>
                <c:pt idx="1030">
                  <c:v>0.1489104177586</c:v>
                </c:pt>
                <c:pt idx="1031">
                  <c:v>0.167272703393725</c:v>
                </c:pt>
                <c:pt idx="1032">
                  <c:v>0.168024141304106</c:v>
                </c:pt>
                <c:pt idx="1033">
                  <c:v>0.169436106509968</c:v>
                </c:pt>
                <c:pt idx="1034">
                  <c:v>0.169436106509968</c:v>
                </c:pt>
                <c:pt idx="1035">
                  <c:v>0.169436106509968</c:v>
                </c:pt>
                <c:pt idx="1036">
                  <c:v>0.167068906051773</c:v>
                </c:pt>
                <c:pt idx="1037">
                  <c:v>0.16800537868005003</c:v>
                </c:pt>
                <c:pt idx="1038">
                  <c:v>0.18319149414355698</c:v>
                </c:pt>
                <c:pt idx="1039">
                  <c:v>0.16134402517488</c:v>
                </c:pt>
                <c:pt idx="1040">
                  <c:v>0.169139118013177</c:v>
                </c:pt>
                <c:pt idx="1041">
                  <c:v>0.169139118013177</c:v>
                </c:pt>
                <c:pt idx="1042">
                  <c:v>0.169139118013177</c:v>
                </c:pt>
                <c:pt idx="1043">
                  <c:v>0.166332498972818</c:v>
                </c:pt>
                <c:pt idx="1044">
                  <c:v>0.163082003931322</c:v>
                </c:pt>
                <c:pt idx="1045">
                  <c:v>0.127907577855144</c:v>
                </c:pt>
                <c:pt idx="1046">
                  <c:v>0.124604112090485</c:v>
                </c:pt>
                <c:pt idx="1047">
                  <c:v>0.115812734280928</c:v>
                </c:pt>
                <c:pt idx="1048">
                  <c:v>0.115812734280928</c:v>
                </c:pt>
                <c:pt idx="1049">
                  <c:v>0.115812734280928</c:v>
                </c:pt>
                <c:pt idx="1050">
                  <c:v>0.13574797050953</c:v>
                </c:pt>
                <c:pt idx="1051">
                  <c:v>0.130389530936706</c:v>
                </c:pt>
                <c:pt idx="1052">
                  <c:v>0.0944628376628968</c:v>
                </c:pt>
                <c:pt idx="1053">
                  <c:v>0.0820026930545818</c:v>
                </c:pt>
                <c:pt idx="1054">
                  <c:v>0.093419905283763</c:v>
                </c:pt>
                <c:pt idx="1055">
                  <c:v>0.093419905283763</c:v>
                </c:pt>
                <c:pt idx="1056">
                  <c:v>0.093419905283763</c:v>
                </c:pt>
                <c:pt idx="1057">
                  <c:v>0.0909911302471758</c:v>
                </c:pt>
                <c:pt idx="1058">
                  <c:v>0.0715292097171245</c:v>
                </c:pt>
                <c:pt idx="1059">
                  <c:v>0.113187729148555</c:v>
                </c:pt>
                <c:pt idx="1060">
                  <c:v>0.0914243291749564</c:v>
                </c:pt>
                <c:pt idx="1061">
                  <c:v>0.0661843497230368</c:v>
                </c:pt>
                <c:pt idx="1062">
                  <c:v>0.0661843497230368</c:v>
                </c:pt>
                <c:pt idx="1063">
                  <c:v>0.0661843497230368</c:v>
                </c:pt>
                <c:pt idx="1064">
                  <c:v>0.0355760829121868</c:v>
                </c:pt>
                <c:pt idx="1065">
                  <c:v>0.05438162258301191</c:v>
                </c:pt>
                <c:pt idx="1066">
                  <c:v>0.0435178559330172</c:v>
                </c:pt>
                <c:pt idx="1067">
                  <c:v>0.0757561904967624</c:v>
                </c:pt>
                <c:pt idx="1068">
                  <c:v>0.0814884312980087</c:v>
                </c:pt>
                <c:pt idx="1069">
                  <c:v>0.0814884312980087</c:v>
                </c:pt>
                <c:pt idx="1070">
                  <c:v>0.0814884312980087</c:v>
                </c:pt>
                <c:pt idx="1071">
                  <c:v>0.0842971235564948</c:v>
                </c:pt>
                <c:pt idx="1072">
                  <c:v>0.10876254871591</c:v>
                </c:pt>
                <c:pt idx="1073">
                  <c:v>0.110709093215997</c:v>
                </c:pt>
                <c:pt idx="1074">
                  <c:v>0.131139724916211</c:v>
                </c:pt>
                <c:pt idx="1075">
                  <c:v>0.133811170134644</c:v>
                </c:pt>
                <c:pt idx="1076">
                  <c:v>0.133811170134644</c:v>
                </c:pt>
                <c:pt idx="1077">
                  <c:v>0.133811170134644</c:v>
                </c:pt>
                <c:pt idx="1078">
                  <c:v>0.150692763382974</c:v>
                </c:pt>
                <c:pt idx="1079">
                  <c:v>0.142381853874508</c:v>
                </c:pt>
                <c:pt idx="1080">
                  <c:v>0.15028143690644</c:v>
                </c:pt>
                <c:pt idx="1081">
                  <c:v>0.134852754921994</c:v>
                </c:pt>
                <c:pt idx="1082">
                  <c:v>0.153113556529769</c:v>
                </c:pt>
                <c:pt idx="1083">
                  <c:v>0.153113556529769</c:v>
                </c:pt>
                <c:pt idx="1084">
                  <c:v>0.153113556529769</c:v>
                </c:pt>
                <c:pt idx="1085">
                  <c:v>0.144404796462601</c:v>
                </c:pt>
                <c:pt idx="1086">
                  <c:v>0.147647931579744</c:v>
                </c:pt>
                <c:pt idx="1087">
                  <c:v>0.133531078365593</c:v>
                </c:pt>
                <c:pt idx="1088">
                  <c:v>0.125397429007045</c:v>
                </c:pt>
                <c:pt idx="1089">
                  <c:v>0.133699941982093</c:v>
                </c:pt>
                <c:pt idx="1090">
                  <c:v>0.133699941982093</c:v>
                </c:pt>
                <c:pt idx="1091">
                  <c:v>0.133699941982093</c:v>
                </c:pt>
                <c:pt idx="1092">
                  <c:v>0.132275330145652</c:v>
                </c:pt>
                <c:pt idx="1093">
                  <c:v>0.09149492225220421</c:v>
                </c:pt>
                <c:pt idx="1094">
                  <c:v>0.0854156247363828</c:v>
                </c:pt>
                <c:pt idx="1095">
                  <c:v>0.0869181895744252</c:v>
                </c:pt>
                <c:pt idx="1096">
                  <c:v>0.0622133077212621</c:v>
                </c:pt>
                <c:pt idx="1097">
                  <c:v>0.0622133077212621</c:v>
                </c:pt>
                <c:pt idx="1098">
                  <c:v>0.0622133077212621</c:v>
                </c:pt>
                <c:pt idx="1099">
                  <c:v>0.078689586825629</c:v>
                </c:pt>
                <c:pt idx="1100">
                  <c:v>0.0784620511361152</c:v>
                </c:pt>
                <c:pt idx="1101">
                  <c:v>0.106811961440474</c:v>
                </c:pt>
                <c:pt idx="1102">
                  <c:v>0.120201218752713</c:v>
                </c:pt>
                <c:pt idx="1103">
                  <c:v>0.12487062428079901</c:v>
                </c:pt>
                <c:pt idx="1104">
                  <c:v>0.12487062428079901</c:v>
                </c:pt>
                <c:pt idx="1105">
                  <c:v>0.12487062428079901</c:v>
                </c:pt>
                <c:pt idx="1106">
                  <c:v>0.123461976223941</c:v>
                </c:pt>
                <c:pt idx="1107">
                  <c:v>0.125690996693926</c:v>
                </c:pt>
                <c:pt idx="1108">
                  <c:v>0.120741810379507</c:v>
                </c:pt>
                <c:pt idx="1109">
                  <c:v>0.149116495640492</c:v>
                </c:pt>
                <c:pt idx="1110">
                  <c:v>0.14185795165364198</c:v>
                </c:pt>
                <c:pt idx="1111">
                  <c:v>0.14185795165364198</c:v>
                </c:pt>
                <c:pt idx="1112">
                  <c:v>0.14185795165364198</c:v>
                </c:pt>
                <c:pt idx="1113">
                  <c:v>0.146129506623025</c:v>
                </c:pt>
                <c:pt idx="1114">
                  <c:v>0.162812589235629</c:v>
                </c:pt>
                <c:pt idx="1115">
                  <c:v>0.16443851055226802</c:v>
                </c:pt>
                <c:pt idx="1116">
                  <c:v>0.180857154192686</c:v>
                </c:pt>
                <c:pt idx="1117">
                  <c:v>0.179932084264111</c:v>
                </c:pt>
                <c:pt idx="1118">
                  <c:v>0.179932084264111</c:v>
                </c:pt>
                <c:pt idx="1119">
                  <c:v>0.179932084264111</c:v>
                </c:pt>
                <c:pt idx="1120">
                  <c:v>0.17912943786597602</c:v>
                </c:pt>
                <c:pt idx="1121">
                  <c:v>0.159809221794953</c:v>
                </c:pt>
                <c:pt idx="1122">
                  <c:v>0.17098791027854301</c:v>
                </c:pt>
                <c:pt idx="1123">
                  <c:v>0.17123628181024</c:v>
                </c:pt>
                <c:pt idx="1124">
                  <c:v>0.188421705175183</c:v>
                </c:pt>
                <c:pt idx="1125">
                  <c:v>0.188421705175183</c:v>
                </c:pt>
                <c:pt idx="1126">
                  <c:v>0.188421705175183</c:v>
                </c:pt>
                <c:pt idx="1127">
                  <c:v>0.192733895219869</c:v>
                </c:pt>
                <c:pt idx="1128">
                  <c:v>0.193833737436608</c:v>
                </c:pt>
                <c:pt idx="1129">
                  <c:v>0.19695279044880898</c:v>
                </c:pt>
                <c:pt idx="1130">
                  <c:v>0.201962203749837</c:v>
                </c:pt>
                <c:pt idx="1131">
                  <c:v>0.214818954985978</c:v>
                </c:pt>
                <c:pt idx="1132">
                  <c:v>0.214818954985978</c:v>
                </c:pt>
                <c:pt idx="1133">
                  <c:v>0.214818954985978</c:v>
                </c:pt>
                <c:pt idx="1134">
                  <c:v>0.22220676412309</c:v>
                </c:pt>
                <c:pt idx="1135">
                  <c:v>0.19603787928906002</c:v>
                </c:pt>
                <c:pt idx="1136">
                  <c:v>0.204316861238359</c:v>
                </c:pt>
                <c:pt idx="1137">
                  <c:v>0.21265130177257402</c:v>
                </c:pt>
                <c:pt idx="1138">
                  <c:v>0.22129247492878001</c:v>
                </c:pt>
                <c:pt idx="1139">
                  <c:v>0.22129247492878001</c:v>
                </c:pt>
                <c:pt idx="1140">
                  <c:v>0.22129247492878001</c:v>
                </c:pt>
                <c:pt idx="1141">
                  <c:v>0.224092977975662</c:v>
                </c:pt>
                <c:pt idx="1142">
                  <c:v>0.225634726636317</c:v>
                </c:pt>
                <c:pt idx="1143">
                  <c:v>0.21128453272189499</c:v>
                </c:pt>
                <c:pt idx="1144">
                  <c:v>0.213049048670371</c:v>
                </c:pt>
                <c:pt idx="1145">
                  <c:v>0.220802988128832</c:v>
                </c:pt>
                <c:pt idx="1146">
                  <c:v>0.220802988128832</c:v>
                </c:pt>
                <c:pt idx="1147">
                  <c:v>0.220802988128832</c:v>
                </c:pt>
                <c:pt idx="1148">
                  <c:v>0.220388551825108</c:v>
                </c:pt>
                <c:pt idx="1149">
                  <c:v>0.23090287755968</c:v>
                </c:pt>
                <c:pt idx="1150">
                  <c:v>0.22276902087932002</c:v>
                </c:pt>
                <c:pt idx="1151">
                  <c:v>0.18845104121169</c:v>
                </c:pt>
                <c:pt idx="1152">
                  <c:v>0.204563263212835</c:v>
                </c:pt>
                <c:pt idx="1153">
                  <c:v>0.204563263212835</c:v>
                </c:pt>
                <c:pt idx="1154">
                  <c:v>0.204563263212835</c:v>
                </c:pt>
                <c:pt idx="1155">
                  <c:v>0.205424167040357</c:v>
                </c:pt>
                <c:pt idx="1156">
                  <c:v>0.21995991397720802</c:v>
                </c:pt>
                <c:pt idx="1157">
                  <c:v>0.23430461386359203</c:v>
                </c:pt>
                <c:pt idx="1158">
                  <c:v>0.250358682096255</c:v>
                </c:pt>
                <c:pt idx="1159">
                  <c:v>0.248337398082665</c:v>
                </c:pt>
                <c:pt idx="1160">
                  <c:v>0.248337398082665</c:v>
                </c:pt>
                <c:pt idx="1161">
                  <c:v>0.248337398082665</c:v>
                </c:pt>
                <c:pt idx="1162">
                  <c:v>0.251584886957876</c:v>
                </c:pt>
                <c:pt idx="1163">
                  <c:v>0.243750921279686</c:v>
                </c:pt>
                <c:pt idx="1164">
                  <c:v>0.238964067944666</c:v>
                </c:pt>
                <c:pt idx="1165">
                  <c:v>0.23611349667999998</c:v>
                </c:pt>
                <c:pt idx="1166">
                  <c:v>0.218605998878921</c:v>
                </c:pt>
                <c:pt idx="1167">
                  <c:v>0.218605998878921</c:v>
                </c:pt>
                <c:pt idx="1168">
                  <c:v>0.218605998878921</c:v>
                </c:pt>
                <c:pt idx="1169">
                  <c:v>0.227329478794796</c:v>
                </c:pt>
                <c:pt idx="1170">
                  <c:v>0.237055359675409</c:v>
                </c:pt>
                <c:pt idx="1171">
                  <c:v>0.23844306822917702</c:v>
                </c:pt>
                <c:pt idx="1172">
                  <c:v>0.23597034096828298</c:v>
                </c:pt>
                <c:pt idx="1173">
                  <c:v>0.23795596563007698</c:v>
                </c:pt>
                <c:pt idx="1174">
                  <c:v>0.23795596563007698</c:v>
                </c:pt>
                <c:pt idx="1175">
                  <c:v>0.23795596563007698</c:v>
                </c:pt>
                <c:pt idx="1176">
                  <c:v>0.238104304387113</c:v>
                </c:pt>
                <c:pt idx="1177">
                  <c:v>0.236631075585578</c:v>
                </c:pt>
                <c:pt idx="1178">
                  <c:v>0.233450447994984</c:v>
                </c:pt>
                <c:pt idx="1179">
                  <c:v>0.236741578111783</c:v>
                </c:pt>
                <c:pt idx="1180">
                  <c:v>0.244460169201168</c:v>
                </c:pt>
                <c:pt idx="1181">
                  <c:v>0.244460169201168</c:v>
                </c:pt>
                <c:pt idx="1182">
                  <c:v>0.244460169201168</c:v>
                </c:pt>
                <c:pt idx="1183">
                  <c:v>0.257429807164363</c:v>
                </c:pt>
                <c:pt idx="1184">
                  <c:v>0.26763366848431397</c:v>
                </c:pt>
                <c:pt idx="1185">
                  <c:v>0.274373596956523</c:v>
                </c:pt>
                <c:pt idx="1186">
                  <c:v>0.27220418150771</c:v>
                </c:pt>
                <c:pt idx="1187">
                  <c:v>0.280717229783625</c:v>
                </c:pt>
                <c:pt idx="1188">
                  <c:v>0.280717229783625</c:v>
                </c:pt>
                <c:pt idx="1189">
                  <c:v>0.280717229783625</c:v>
                </c:pt>
                <c:pt idx="1190">
                  <c:v>0.274832814771806</c:v>
                </c:pt>
                <c:pt idx="1191">
                  <c:v>0.264808079498087</c:v>
                </c:pt>
                <c:pt idx="1192">
                  <c:v>0.275332874984205</c:v>
                </c:pt>
                <c:pt idx="1193">
                  <c:v>0.270686585838242</c:v>
                </c:pt>
                <c:pt idx="1194">
                  <c:v>0.26232612641652503</c:v>
                </c:pt>
                <c:pt idx="1195">
                  <c:v>0.26232612641652503</c:v>
                </c:pt>
                <c:pt idx="1196">
                  <c:v>0.26232612641652503</c:v>
                </c:pt>
                <c:pt idx="1197">
                  <c:v>0.265079982055534</c:v>
                </c:pt>
                <c:pt idx="1198">
                  <c:v>0.25707549418634096</c:v>
                </c:pt>
                <c:pt idx="1199">
                  <c:v>0.230452678243253</c:v>
                </c:pt>
                <c:pt idx="1200">
                  <c:v>0.228491828538085</c:v>
                </c:pt>
                <c:pt idx="1201">
                  <c:v>0.22545674086005502</c:v>
                </c:pt>
                <c:pt idx="1202">
                  <c:v>0.22545674086005502</c:v>
                </c:pt>
                <c:pt idx="1203">
                  <c:v>0.22545674086005502</c:v>
                </c:pt>
                <c:pt idx="1204">
                  <c:v>0.237964154841681</c:v>
                </c:pt>
                <c:pt idx="1205">
                  <c:v>0.246811613201593</c:v>
                </c:pt>
                <c:pt idx="1206">
                  <c:v>0.24695580552237298</c:v>
                </c:pt>
                <c:pt idx="1207">
                  <c:v>0.243938132876616</c:v>
                </c:pt>
                <c:pt idx="1208">
                  <c:v>0.236683320682395</c:v>
                </c:pt>
                <c:pt idx="1209">
                  <c:v>0.236683320682395</c:v>
                </c:pt>
                <c:pt idx="1210">
                  <c:v>0.236683320682395</c:v>
                </c:pt>
                <c:pt idx="1211">
                  <c:v>0.22554765147495398</c:v>
                </c:pt>
                <c:pt idx="1212">
                  <c:v>0.21843485472247998</c:v>
                </c:pt>
                <c:pt idx="1213">
                  <c:v>0.21843485472247998</c:v>
                </c:pt>
                <c:pt idx="1214">
                  <c:v>0.224089142522125</c:v>
                </c:pt>
                <c:pt idx="1215">
                  <c:v>0.238034644258023</c:v>
                </c:pt>
                <c:pt idx="1216">
                  <c:v>0.238034644258023</c:v>
                </c:pt>
                <c:pt idx="1217">
                  <c:v>0.238034644258023</c:v>
                </c:pt>
                <c:pt idx="1218">
                  <c:v>0.253402269968608</c:v>
                </c:pt>
                <c:pt idx="1219">
                  <c:v>0.227084735394823</c:v>
                </c:pt>
                <c:pt idx="1220">
                  <c:v>0.220763804306219</c:v>
                </c:pt>
                <c:pt idx="1221">
                  <c:v>0.221605116222435</c:v>
                </c:pt>
                <c:pt idx="1222">
                  <c:v>0.20708170493344402</c:v>
                </c:pt>
                <c:pt idx="1223">
                  <c:v>0.20708170493344402</c:v>
                </c:pt>
                <c:pt idx="1224">
                  <c:v>0.20708170493344402</c:v>
                </c:pt>
                <c:pt idx="1225">
                  <c:v>0.196731889057304</c:v>
                </c:pt>
                <c:pt idx="1226">
                  <c:v>0.197356860661896</c:v>
                </c:pt>
                <c:pt idx="1227">
                  <c:v>0.221054884131347</c:v>
                </c:pt>
                <c:pt idx="1228">
                  <c:v>0.219115077590175</c:v>
                </c:pt>
                <c:pt idx="1229">
                  <c:v>0.227483518901684</c:v>
                </c:pt>
                <c:pt idx="1230">
                  <c:v>0.227483518901684</c:v>
                </c:pt>
                <c:pt idx="1231">
                  <c:v>0.227483518901684</c:v>
                </c:pt>
                <c:pt idx="1232">
                  <c:v>0.231520385579012</c:v>
                </c:pt>
                <c:pt idx="1233">
                  <c:v>0.241168624440743</c:v>
                </c:pt>
                <c:pt idx="1234">
                  <c:v>0.250290265898041</c:v>
                </c:pt>
                <c:pt idx="1235">
                  <c:v>0.258049906706354</c:v>
                </c:pt>
                <c:pt idx="1236">
                  <c:v>0.262176336406799</c:v>
                </c:pt>
                <c:pt idx="1237">
                  <c:v>0.262176336406799</c:v>
                </c:pt>
                <c:pt idx="1238">
                  <c:v>0.262176336406799</c:v>
                </c:pt>
                <c:pt idx="1239">
                  <c:v>0.22960773819531302</c:v>
                </c:pt>
                <c:pt idx="1240">
                  <c:v>0.246956842131437</c:v>
                </c:pt>
                <c:pt idx="1241">
                  <c:v>0.24289613344563998</c:v>
                </c:pt>
                <c:pt idx="1242">
                  <c:v>0.255467298884692</c:v>
                </c:pt>
                <c:pt idx="1243">
                  <c:v>0.248094624239913</c:v>
                </c:pt>
                <c:pt idx="1244">
                  <c:v>0.248094624239913</c:v>
                </c:pt>
                <c:pt idx="1245">
                  <c:v>0.248094624239913</c:v>
                </c:pt>
                <c:pt idx="1246">
                  <c:v>0.236469571893431</c:v>
                </c:pt>
                <c:pt idx="1247">
                  <c:v>0.249923720933066</c:v>
                </c:pt>
                <c:pt idx="1248">
                  <c:v>0.259110254117761</c:v>
                </c:pt>
                <c:pt idx="1249">
                  <c:v>0.273199429869907</c:v>
                </c:pt>
                <c:pt idx="1250">
                  <c:v>0.270182379189588</c:v>
                </c:pt>
                <c:pt idx="1251">
                  <c:v>0.270182379189588</c:v>
                </c:pt>
                <c:pt idx="1252">
                  <c:v>0.270182379189588</c:v>
                </c:pt>
                <c:pt idx="1253">
                  <c:v>0.276097270507884</c:v>
                </c:pt>
                <c:pt idx="1254">
                  <c:v>0.270250484405083</c:v>
                </c:pt>
                <c:pt idx="1255">
                  <c:v>0.271196804819466</c:v>
                </c:pt>
                <c:pt idx="1256">
                  <c:v>0.282361810063414</c:v>
                </c:pt>
                <c:pt idx="1257">
                  <c:v>0.287275026043317</c:v>
                </c:pt>
                <c:pt idx="1258">
                  <c:v>0.287275026043317</c:v>
                </c:pt>
                <c:pt idx="1259">
                  <c:v>0.287275026043317</c:v>
                </c:pt>
                <c:pt idx="1260">
                  <c:v>0.28944070969950003</c:v>
                </c:pt>
                <c:pt idx="1261">
                  <c:v>0.291669730169485</c:v>
                </c:pt>
                <c:pt idx="1262">
                  <c:v>0.278529984658913</c:v>
                </c:pt>
                <c:pt idx="1263">
                  <c:v>0.27770660607950204</c:v>
                </c:pt>
                <c:pt idx="1264">
                  <c:v>0.272871446762106</c:v>
                </c:pt>
                <c:pt idx="1265">
                  <c:v>0.272871446762106</c:v>
                </c:pt>
                <c:pt idx="1266">
                  <c:v>0.272871446762106</c:v>
                </c:pt>
                <c:pt idx="1267">
                  <c:v>0.260375642801995</c:v>
                </c:pt>
                <c:pt idx="1268">
                  <c:v>0.247536824902658</c:v>
                </c:pt>
                <c:pt idx="1269">
                  <c:v>0.253134099203792</c:v>
                </c:pt>
                <c:pt idx="1270">
                  <c:v>0.232987913030697</c:v>
                </c:pt>
                <c:pt idx="1271">
                  <c:v>0.237359189792022</c:v>
                </c:pt>
                <c:pt idx="1272">
                  <c:v>0.237359189792022</c:v>
                </c:pt>
                <c:pt idx="1273">
                  <c:v>0.237359189792022</c:v>
                </c:pt>
                <c:pt idx="1274">
                  <c:v>0.223580582115403</c:v>
                </c:pt>
                <c:pt idx="1275">
                  <c:v>0.212560080174955</c:v>
                </c:pt>
                <c:pt idx="1276">
                  <c:v>0.230986531911133</c:v>
                </c:pt>
                <c:pt idx="1277">
                  <c:v>0.22014878414864</c:v>
                </c:pt>
                <c:pt idx="1278">
                  <c:v>0.22559844531908302</c:v>
                </c:pt>
                <c:pt idx="1279">
                  <c:v>0.22559844531908302</c:v>
                </c:pt>
                <c:pt idx="1280">
                  <c:v>0.22559844531908302</c:v>
                </c:pt>
                <c:pt idx="1281">
                  <c:v>0.19344075894050503</c:v>
                </c:pt>
                <c:pt idx="1282">
                  <c:v>0.18604952899348198</c:v>
                </c:pt>
                <c:pt idx="1283">
                  <c:v>0.187041149223955</c:v>
                </c:pt>
                <c:pt idx="1284">
                  <c:v>0.17405119372310998</c:v>
                </c:pt>
                <c:pt idx="1285">
                  <c:v>0.19507911956590998</c:v>
                </c:pt>
                <c:pt idx="1286">
                  <c:v>0.19507911956590998</c:v>
                </c:pt>
                <c:pt idx="1287">
                  <c:v>0.19507911956590998</c:v>
                </c:pt>
                <c:pt idx="1288">
                  <c:v>0.20469926632201102</c:v>
                </c:pt>
                <c:pt idx="1289">
                  <c:v>0.196835031659156</c:v>
                </c:pt>
                <c:pt idx="1290">
                  <c:v>0.20825276219286898</c:v>
                </c:pt>
                <c:pt idx="1291">
                  <c:v>0.203066296063737</c:v>
                </c:pt>
                <c:pt idx="1292">
                  <c:v>0.20014544270454301</c:v>
                </c:pt>
                <c:pt idx="1293">
                  <c:v>0.20014544270454301</c:v>
                </c:pt>
                <c:pt idx="1294">
                  <c:v>0.20014544270454301</c:v>
                </c:pt>
                <c:pt idx="1295">
                  <c:v>0.215222610555439</c:v>
                </c:pt>
                <c:pt idx="1296">
                  <c:v>0.213675575188558</c:v>
                </c:pt>
                <c:pt idx="1297">
                  <c:v>0.203839606425365</c:v>
                </c:pt>
                <c:pt idx="1298">
                  <c:v>0.19914200513074198</c:v>
                </c:pt>
                <c:pt idx="1299">
                  <c:v>0.18147383292476701</c:v>
                </c:pt>
                <c:pt idx="1300">
                  <c:v>0.18147383292476701</c:v>
                </c:pt>
                <c:pt idx="1301">
                  <c:v>0.18147383292476701</c:v>
                </c:pt>
                <c:pt idx="1302">
                  <c:v>0.17995717020345603</c:v>
                </c:pt>
                <c:pt idx="1303">
                  <c:v>0.188670802333225</c:v>
                </c:pt>
                <c:pt idx="1304">
                  <c:v>0.18872035224647699</c:v>
                </c:pt>
                <c:pt idx="1305">
                  <c:v>0.14670513563617799</c:v>
                </c:pt>
                <c:pt idx="1306">
                  <c:v>0.0858340001545504</c:v>
                </c:pt>
                <c:pt idx="1307">
                  <c:v>0.0858340001545504</c:v>
                </c:pt>
                <c:pt idx="1308">
                  <c:v>0.0858340001545504</c:v>
                </c:pt>
                <c:pt idx="1309">
                  <c:v>0.0655596891011643</c:v>
                </c:pt>
                <c:pt idx="1310">
                  <c:v>0.0572842316226824</c:v>
                </c:pt>
                <c:pt idx="1311">
                  <c:v>0.124211444577101</c:v>
                </c:pt>
                <c:pt idx="1312">
                  <c:v>0.109962009063684</c:v>
                </c:pt>
                <c:pt idx="1313">
                  <c:v>0.136776079379051</c:v>
                </c:pt>
                <c:pt idx="1314">
                  <c:v>0.136776079379051</c:v>
                </c:pt>
                <c:pt idx="1315">
                  <c:v>0.136776079379051</c:v>
                </c:pt>
                <c:pt idx="1316">
                  <c:v>0.15154413040710898</c:v>
                </c:pt>
                <c:pt idx="1317">
                  <c:v>0.15069317802659898</c:v>
                </c:pt>
                <c:pt idx="1318">
                  <c:v>0.134593084351501</c:v>
                </c:pt>
                <c:pt idx="1319">
                  <c:v>0.138269833040051</c:v>
                </c:pt>
                <c:pt idx="1320">
                  <c:v>0.138644774538443</c:v>
                </c:pt>
                <c:pt idx="1321">
                  <c:v>0.138644774538443</c:v>
                </c:pt>
                <c:pt idx="1322">
                  <c:v>0.138644774538443</c:v>
                </c:pt>
                <c:pt idx="1323">
                  <c:v>0.122642640419879</c:v>
                </c:pt>
                <c:pt idx="1324">
                  <c:v>0.135709304991449</c:v>
                </c:pt>
                <c:pt idx="1325">
                  <c:v>0.159285734217711</c:v>
                </c:pt>
                <c:pt idx="1326">
                  <c:v>0.175135175821172</c:v>
                </c:pt>
                <c:pt idx="1327">
                  <c:v>0.18074945051095198</c:v>
                </c:pt>
                <c:pt idx="1328">
                  <c:v>0.18074945051095198</c:v>
                </c:pt>
                <c:pt idx="1329">
                  <c:v>0.18074945051095198</c:v>
                </c:pt>
                <c:pt idx="1330">
                  <c:v>0.178150671587895</c:v>
                </c:pt>
                <c:pt idx="1331">
                  <c:v>0.187673999057432</c:v>
                </c:pt>
                <c:pt idx="1332">
                  <c:v>0.191494525423137</c:v>
                </c:pt>
                <c:pt idx="1333">
                  <c:v>0.198201489727116</c:v>
                </c:pt>
                <c:pt idx="1334">
                  <c:v>0.216795561148917</c:v>
                </c:pt>
                <c:pt idx="1335">
                  <c:v>0.216795561148917</c:v>
                </c:pt>
                <c:pt idx="1336">
                  <c:v>0.216795561148917</c:v>
                </c:pt>
                <c:pt idx="1337">
                  <c:v>0.210563778439804</c:v>
                </c:pt>
                <c:pt idx="1338">
                  <c:v>0.20582782260981802</c:v>
                </c:pt>
                <c:pt idx="1339">
                  <c:v>0.20864107594818598</c:v>
                </c:pt>
                <c:pt idx="1340">
                  <c:v>0.210193605343105</c:v>
                </c:pt>
                <c:pt idx="1341">
                  <c:v>0.21024947857164603</c:v>
                </c:pt>
                <c:pt idx="1342">
                  <c:v>0.21024947857164603</c:v>
                </c:pt>
                <c:pt idx="1343">
                  <c:v>0.21024947857164603</c:v>
                </c:pt>
                <c:pt idx="1344">
                  <c:v>0.244969766216954</c:v>
                </c:pt>
                <c:pt idx="1345">
                  <c:v>0.254141268570223</c:v>
                </c:pt>
                <c:pt idx="1346">
                  <c:v>0.26592989782698</c:v>
                </c:pt>
                <c:pt idx="1347">
                  <c:v>0.270853272575708</c:v>
                </c:pt>
                <c:pt idx="1348">
                  <c:v>0.272843976621915</c:v>
                </c:pt>
                <c:pt idx="1349">
                  <c:v>0.272843976621915</c:v>
                </c:pt>
                <c:pt idx="1350">
                  <c:v>0.272843976621915</c:v>
                </c:pt>
                <c:pt idx="1351">
                  <c:v>0.275353710826388</c:v>
                </c:pt>
                <c:pt idx="1352">
                  <c:v>0.277477515476392</c:v>
                </c:pt>
                <c:pt idx="1353">
                  <c:v>0.26581835869171</c:v>
                </c:pt>
                <c:pt idx="1354">
                  <c:v>0.265638921662758</c:v>
                </c:pt>
                <c:pt idx="1355">
                  <c:v>0.264166729470287</c:v>
                </c:pt>
                <c:pt idx="1356">
                  <c:v>0.264166729470287</c:v>
                </c:pt>
                <c:pt idx="1357">
                  <c:v>0.264166729470287</c:v>
                </c:pt>
                <c:pt idx="1358">
                  <c:v>0.268137875132968</c:v>
                </c:pt>
                <c:pt idx="1359">
                  <c:v>0.28412228323654104</c:v>
                </c:pt>
                <c:pt idx="1360">
                  <c:v>0.268296061676111</c:v>
                </c:pt>
                <c:pt idx="1361">
                  <c:v>0.277964203431867</c:v>
                </c:pt>
                <c:pt idx="1362">
                  <c:v>0.274832814771806</c:v>
                </c:pt>
                <c:pt idx="1363">
                  <c:v>0.274832814771806</c:v>
                </c:pt>
                <c:pt idx="1364">
                  <c:v>0.274832814771806</c:v>
                </c:pt>
                <c:pt idx="1365">
                  <c:v>0.28609070018787497</c:v>
                </c:pt>
                <c:pt idx="1366">
                  <c:v>0.284708796644864</c:v>
                </c:pt>
                <c:pt idx="1367">
                  <c:v>0.292139417736313</c:v>
                </c:pt>
                <c:pt idx="1368">
                  <c:v>0.287585283136125</c:v>
                </c:pt>
                <c:pt idx="1369">
                  <c:v>0.29927242836553203</c:v>
                </c:pt>
                <c:pt idx="1370">
                  <c:v>0.29927242836553203</c:v>
                </c:pt>
                <c:pt idx="1371">
                  <c:v>0.29927242836553203</c:v>
                </c:pt>
                <c:pt idx="1372">
                  <c:v>0.297084975919007</c:v>
                </c:pt>
                <c:pt idx="1373">
                  <c:v>0.308441753839766</c:v>
                </c:pt>
                <c:pt idx="1374">
                  <c:v>0.306432598152224</c:v>
                </c:pt>
                <c:pt idx="1375">
                  <c:v>0.31031501007904</c:v>
                </c:pt>
                <c:pt idx="1376">
                  <c:v>0.289445789083913</c:v>
                </c:pt>
                <c:pt idx="1377">
                  <c:v>0.289445789083913</c:v>
                </c:pt>
                <c:pt idx="1378">
                  <c:v>0.289445789083913</c:v>
                </c:pt>
                <c:pt idx="1379">
                  <c:v>0.300266743779571</c:v>
                </c:pt>
                <c:pt idx="1380">
                  <c:v>0.28645838542282</c:v>
                </c:pt>
                <c:pt idx="1381">
                  <c:v>0.284214852425942</c:v>
                </c:pt>
                <c:pt idx="1382">
                  <c:v>0.283060484572445</c:v>
                </c:pt>
                <c:pt idx="1383">
                  <c:v>0.279349527784789</c:v>
                </c:pt>
                <c:pt idx="1384">
                  <c:v>0.279349527784789</c:v>
                </c:pt>
                <c:pt idx="1385">
                  <c:v>0.279349527784789</c:v>
                </c:pt>
                <c:pt idx="1386">
                  <c:v>0.286680427084296</c:v>
                </c:pt>
                <c:pt idx="1387">
                  <c:v>0.30529212086018204</c:v>
                </c:pt>
                <c:pt idx="1388">
                  <c:v>0.30204660154219204</c:v>
                </c:pt>
                <c:pt idx="1389">
                  <c:v>0.31612914299633</c:v>
                </c:pt>
                <c:pt idx="1390">
                  <c:v>0.32512887922771905</c:v>
                </c:pt>
                <c:pt idx="1391">
                  <c:v>0.32512887922771905</c:v>
                </c:pt>
                <c:pt idx="1392">
                  <c:v>0.32512887922771905</c:v>
                </c:pt>
                <c:pt idx="1393">
                  <c:v>0.33083105836611404</c:v>
                </c:pt>
                <c:pt idx="1394">
                  <c:v>0.332533481431666</c:v>
                </c:pt>
                <c:pt idx="1395">
                  <c:v>0.34425638967377403</c:v>
                </c:pt>
                <c:pt idx="1396">
                  <c:v>0.356168479070035</c:v>
                </c:pt>
                <c:pt idx="1397">
                  <c:v>0.356344495289076</c:v>
                </c:pt>
                <c:pt idx="1398">
                  <c:v>0.356344495289076</c:v>
                </c:pt>
                <c:pt idx="1399">
                  <c:v>0.356344495289076</c:v>
                </c:pt>
                <c:pt idx="1400">
                  <c:v>0.34161593906634996</c:v>
                </c:pt>
                <c:pt idx="1401">
                  <c:v>0.338026265539164</c:v>
                </c:pt>
                <c:pt idx="1402">
                  <c:v>0.34132662147663095</c:v>
                </c:pt>
                <c:pt idx="1403">
                  <c:v>0.34013638694952497</c:v>
                </c:pt>
                <c:pt idx="1404">
                  <c:v>0.328227200058644</c:v>
                </c:pt>
                <c:pt idx="1405">
                  <c:v>0.328227200058644</c:v>
                </c:pt>
                <c:pt idx="1406">
                  <c:v>0.328227200058644</c:v>
                </c:pt>
                <c:pt idx="1407">
                  <c:v>0.328225956127767</c:v>
                </c:pt>
                <c:pt idx="1408">
                  <c:v>0.32736453399571197</c:v>
                </c:pt>
                <c:pt idx="1409">
                  <c:v>0.33072221441441</c:v>
                </c:pt>
                <c:pt idx="1410">
                  <c:v>0.34212543242122995</c:v>
                </c:pt>
                <c:pt idx="1411">
                  <c:v>0.344013719491929</c:v>
                </c:pt>
                <c:pt idx="1412">
                  <c:v>0.344013719491929</c:v>
                </c:pt>
                <c:pt idx="1413">
                  <c:v>0.344013719491929</c:v>
                </c:pt>
                <c:pt idx="1414">
                  <c:v>0.34595798345207496</c:v>
                </c:pt>
                <c:pt idx="1415">
                  <c:v>0.35446636698720296</c:v>
                </c:pt>
                <c:pt idx="1416">
                  <c:v>0.368690198256742</c:v>
                </c:pt>
                <c:pt idx="1417">
                  <c:v>0.36986996303230396</c:v>
                </c:pt>
                <c:pt idx="1418">
                  <c:v>0.371792769184828</c:v>
                </c:pt>
                <c:pt idx="1419">
                  <c:v>0.371792769184828</c:v>
                </c:pt>
                <c:pt idx="1420">
                  <c:v>0.371792769184828</c:v>
                </c:pt>
                <c:pt idx="1421">
                  <c:v>0.364429942326155</c:v>
                </c:pt>
                <c:pt idx="1422">
                  <c:v>0.356594940038901</c:v>
                </c:pt>
                <c:pt idx="1423">
                  <c:v>0.349759954515537</c:v>
                </c:pt>
                <c:pt idx="1424">
                  <c:v>0.346504898394159</c:v>
                </c:pt>
                <c:pt idx="1425">
                  <c:v>0.324536768130452</c:v>
                </c:pt>
                <c:pt idx="1426">
                  <c:v>0.324536768130452</c:v>
                </c:pt>
                <c:pt idx="1427">
                  <c:v>0.324536768130452</c:v>
                </c:pt>
                <c:pt idx="1428">
                  <c:v>0.34012353299713405</c:v>
                </c:pt>
                <c:pt idx="1429">
                  <c:v>0.336957314272528</c:v>
                </c:pt>
                <c:pt idx="1430">
                  <c:v>0.339096875380302</c:v>
                </c:pt>
                <c:pt idx="1431">
                  <c:v>0.35111044880391296</c:v>
                </c:pt>
                <c:pt idx="1432">
                  <c:v>0.36021125441902796</c:v>
                </c:pt>
                <c:pt idx="1433">
                  <c:v>0.36021125441902796</c:v>
                </c:pt>
                <c:pt idx="1434">
                  <c:v>0.36021125441902796</c:v>
                </c:pt>
                <c:pt idx="1435">
                  <c:v>0.35339430589337506</c:v>
                </c:pt>
                <c:pt idx="1436">
                  <c:v>0.37039137739141703</c:v>
                </c:pt>
                <c:pt idx="1437">
                  <c:v>0.372023622023346</c:v>
                </c:pt>
                <c:pt idx="1438">
                  <c:v>0.37327843729513</c:v>
                </c:pt>
                <c:pt idx="1439">
                  <c:v>0.369553071641486</c:v>
                </c:pt>
                <c:pt idx="1440">
                  <c:v>0.369553071641486</c:v>
                </c:pt>
                <c:pt idx="1441">
                  <c:v>0.369553071641486</c:v>
                </c:pt>
                <c:pt idx="1442">
                  <c:v>0.36619207407378396</c:v>
                </c:pt>
                <c:pt idx="1443">
                  <c:v>0.359563581075938</c:v>
                </c:pt>
                <c:pt idx="1444">
                  <c:v>0.353353567157166</c:v>
                </c:pt>
                <c:pt idx="1445">
                  <c:v>0.349934623142794</c:v>
                </c:pt>
                <c:pt idx="1446">
                  <c:v>0.374161420895713</c:v>
                </c:pt>
                <c:pt idx="1447">
                  <c:v>0.374161420895713</c:v>
                </c:pt>
                <c:pt idx="1448">
                  <c:v>0.374161420895713</c:v>
                </c:pt>
                <c:pt idx="1449">
                  <c:v>0.36349699416869496</c:v>
                </c:pt>
                <c:pt idx="1450">
                  <c:v>0.366978549370523</c:v>
                </c:pt>
                <c:pt idx="1451">
                  <c:v>0.369903652826878</c:v>
                </c:pt>
                <c:pt idx="1452">
                  <c:v>0.371424047340819</c:v>
                </c:pt>
                <c:pt idx="1453">
                  <c:v>0.369634549113904</c:v>
                </c:pt>
                <c:pt idx="1454">
                  <c:v>0.369634549113904</c:v>
                </c:pt>
                <c:pt idx="1455">
                  <c:v>0.369634549113904</c:v>
                </c:pt>
                <c:pt idx="1456">
                  <c:v>0.370664834862459</c:v>
                </c:pt>
                <c:pt idx="1457">
                  <c:v>0.35741873326193796</c:v>
                </c:pt>
                <c:pt idx="1458">
                  <c:v>0.36754205005762797</c:v>
                </c:pt>
                <c:pt idx="1459">
                  <c:v>0.37620571763051996</c:v>
                </c:pt>
                <c:pt idx="1460">
                  <c:v>0.377475771055542</c:v>
                </c:pt>
                <c:pt idx="1461">
                  <c:v>0.377475771055542</c:v>
                </c:pt>
                <c:pt idx="1462">
                  <c:v>0.377475771055542</c:v>
                </c:pt>
                <c:pt idx="1463">
                  <c:v>0.381284894721544</c:v>
                </c:pt>
                <c:pt idx="1464">
                  <c:v>0.38859775702334</c:v>
                </c:pt>
                <c:pt idx="1465">
                  <c:v>0.38382334299708604</c:v>
                </c:pt>
                <c:pt idx="1466">
                  <c:v>0.397753606579745</c:v>
                </c:pt>
                <c:pt idx="1467">
                  <c:v>0.396985064619811</c:v>
                </c:pt>
                <c:pt idx="1468">
                  <c:v>0.396985064619811</c:v>
                </c:pt>
                <c:pt idx="1469">
                  <c:v>0.396985064619811</c:v>
                </c:pt>
                <c:pt idx="1470">
                  <c:v>0.401343072785119</c:v>
                </c:pt>
                <c:pt idx="1471">
                  <c:v>0.405684806188124</c:v>
                </c:pt>
                <c:pt idx="1472">
                  <c:v>0.403061355969347</c:v>
                </c:pt>
                <c:pt idx="1473">
                  <c:v>0.411205267757627</c:v>
                </c:pt>
                <c:pt idx="1474">
                  <c:v>0.413233808034664</c:v>
                </c:pt>
                <c:pt idx="1475">
                  <c:v>0.413233808034664</c:v>
                </c:pt>
                <c:pt idx="1476">
                  <c:v>0.413233808034664</c:v>
                </c:pt>
                <c:pt idx="1477">
                  <c:v>0.419837111432259</c:v>
                </c:pt>
                <c:pt idx="1478">
                  <c:v>0.42068930774364505</c:v>
                </c:pt>
                <c:pt idx="1479">
                  <c:v>0.41917451091865</c:v>
                </c:pt>
                <c:pt idx="1480">
                  <c:v>0.404374946975051</c:v>
                </c:pt>
                <c:pt idx="1481">
                  <c:v>0.408008780048357</c:v>
                </c:pt>
                <c:pt idx="1482">
                  <c:v>0.408008780048357</c:v>
                </c:pt>
                <c:pt idx="1483">
                  <c:v>0.408008780048357</c:v>
                </c:pt>
                <c:pt idx="1484">
                  <c:v>0.417815101792324</c:v>
                </c:pt>
                <c:pt idx="1485">
                  <c:v>0.421500247014291</c:v>
                </c:pt>
              </c:numCache>
            </c:numRef>
          </c:val>
          <c:smooth val="0"/>
          <c:extLst>
            <c:ext xmlns:c16="http://schemas.microsoft.com/office/drawing/2014/chart" uri="{C3380CC4-5D6E-409C-BE32-E72D297353CC}">
              <c16:uniqueId val="{00000000-1D55-4091-B462-1B341D70D85C}"/>
            </c:ext>
          </c:extLst>
        </c:ser>
        <c:ser>
          <c:idx val="1"/>
          <c:order val="1"/>
          <c:tx>
            <c:strRef>
              <c:f>Sheet1!$C$1</c:f>
              <c:strCache>
                <c:ptCount val="1"/>
                <c:pt idx="0">
                  <c:v>Benchmark return USD </c:v>
                </c:pt>
              </c:strCache>
            </c:strRef>
          </c:tx>
          <c:spPr>
            <a:ln w="12700" cap="rnd">
              <a:solidFill>
                <a:schemeClr val="tx1"/>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C$2:$C$1487</c:f>
              <c:numCache>
                <c:formatCode>General</c:formatCode>
                <c:ptCount val="1486"/>
                <c:pt idx="0">
                  <c:v>0.0</c:v>
                </c:pt>
                <c:pt idx="1">
                  <c:v>-0.001519620424975221</c:v>
                </c:pt>
                <c:pt idx="2">
                  <c:v>-0.0068382140629815735</c:v>
                </c:pt>
                <c:pt idx="3">
                  <c:v>-0.009497549806688266</c:v>
                </c:pt>
                <c:pt idx="4">
                  <c:v>-0.015291102676906365</c:v>
                </c:pt>
                <c:pt idx="5">
                  <c:v>-0.015291102676906365</c:v>
                </c:pt>
                <c:pt idx="6">
                  <c:v>-0.015291102676906365</c:v>
                </c:pt>
                <c:pt idx="7">
                  <c:v>-0.011682082016997164</c:v>
                </c:pt>
                <c:pt idx="8">
                  <c:v>-0.017570377615555244</c:v>
                </c:pt>
                <c:pt idx="9">
                  <c:v>-0.011682082016997386</c:v>
                </c:pt>
                <c:pt idx="10">
                  <c:v>-0.014246363634736081</c:v>
                </c:pt>
                <c:pt idx="11">
                  <c:v>-0.024028920120514274</c:v>
                </c:pt>
                <c:pt idx="12">
                  <c:v>-0.024028920120514274</c:v>
                </c:pt>
                <c:pt idx="13">
                  <c:v>-0.024028920120514274</c:v>
                </c:pt>
                <c:pt idx="14">
                  <c:v>-0.04121954832863972</c:v>
                </c:pt>
                <c:pt idx="15">
                  <c:v>-0.03894003984176986</c:v>
                </c:pt>
                <c:pt idx="16">
                  <c:v>-0.03010740182041527</c:v>
                </c:pt>
                <c:pt idx="17">
                  <c:v>-0.0194700588455885</c:v>
                </c:pt>
                <c:pt idx="18">
                  <c:v>-0.022224293016449126</c:v>
                </c:pt>
                <c:pt idx="19">
                  <c:v>-0.022224293016449126</c:v>
                </c:pt>
                <c:pt idx="20">
                  <c:v>-0.022224293016449126</c:v>
                </c:pt>
                <c:pt idx="21">
                  <c:v>-0.023269109908026553</c:v>
                </c:pt>
                <c:pt idx="22">
                  <c:v>-0.04254929404989993</c:v>
                </c:pt>
                <c:pt idx="23">
                  <c:v>-0.04416381290202909</c:v>
                </c:pt>
                <c:pt idx="24">
                  <c:v>-0.0510018712661966</c:v>
                </c:pt>
                <c:pt idx="25">
                  <c:v>-0.04302394188448355</c:v>
                </c:pt>
                <c:pt idx="26">
                  <c:v>-0.04302394188448355</c:v>
                </c:pt>
                <c:pt idx="27">
                  <c:v>-0.04302394188448355</c:v>
                </c:pt>
                <c:pt idx="28">
                  <c:v>-0.05480092232863465</c:v>
                </c:pt>
                <c:pt idx="29">
                  <c:v>-0.04663319609261374</c:v>
                </c:pt>
                <c:pt idx="30">
                  <c:v>-0.04587338588012613</c:v>
                </c:pt>
                <c:pt idx="31">
                  <c:v>-0.03542599545842129</c:v>
                </c:pt>
                <c:pt idx="32">
                  <c:v>-0.036470734500591795</c:v>
                </c:pt>
                <c:pt idx="33">
                  <c:v>-0.036470734500591795</c:v>
                </c:pt>
                <c:pt idx="34">
                  <c:v>-0.036470734500591795</c:v>
                </c:pt>
                <c:pt idx="35">
                  <c:v>-0.04216931109424893</c:v>
                </c:pt>
                <c:pt idx="36">
                  <c:v>-0.0434038469907273</c:v>
                </c:pt>
                <c:pt idx="37">
                  <c:v>-0.036185649972094946</c:v>
                </c:pt>
                <c:pt idx="38">
                  <c:v>-0.023743913441424125</c:v>
                </c:pt>
                <c:pt idx="39">
                  <c:v>-0.015766139758525144</c:v>
                </c:pt>
                <c:pt idx="40">
                  <c:v>-0.015766139758525144</c:v>
                </c:pt>
                <c:pt idx="41">
                  <c:v>-0.015766139758525144</c:v>
                </c:pt>
                <c:pt idx="42">
                  <c:v>-0.015196048550938257</c:v>
                </c:pt>
                <c:pt idx="43">
                  <c:v>-0.0068382140629814625</c:v>
                </c:pt>
                <c:pt idx="44">
                  <c:v>-0.0038940273389989066</c:v>
                </c:pt>
                <c:pt idx="45">
                  <c:v>-0.0037039190870629124</c:v>
                </c:pt>
                <c:pt idx="46">
                  <c:v>-0.003609020659908979</c:v>
                </c:pt>
                <c:pt idx="47">
                  <c:v>-0.003609020659908979</c:v>
                </c:pt>
                <c:pt idx="48">
                  <c:v>-0.003609020659908979</c:v>
                </c:pt>
                <c:pt idx="49">
                  <c:v>-0.00019003040252885128</c:v>
                </c:pt>
                <c:pt idx="50">
                  <c:v>-0.0007597323630805786</c:v>
                </c:pt>
                <c:pt idx="51">
                  <c:v>-0.005698498744250102</c:v>
                </c:pt>
                <c:pt idx="52">
                  <c:v>0.0029442645733894768</c:v>
                </c:pt>
                <c:pt idx="53">
                  <c:v>0.00018987470371478743</c:v>
                </c:pt>
                <c:pt idx="54">
                  <c:v>0.00018987470371478743</c:v>
                </c:pt>
                <c:pt idx="55">
                  <c:v>0.00018987470371478743</c:v>
                </c:pt>
                <c:pt idx="56">
                  <c:v>0.005223695210852197</c:v>
                </c:pt>
                <c:pt idx="57">
                  <c:v>0.005793475020810845</c:v>
                </c:pt>
                <c:pt idx="58">
                  <c:v>0.01225186182695559</c:v>
                </c:pt>
                <c:pt idx="59">
                  <c:v>0.014436316187857345</c:v>
                </c:pt>
                <c:pt idx="60">
                  <c:v>0.01643074014623047</c:v>
                </c:pt>
                <c:pt idx="61">
                  <c:v>0.01643074014623047</c:v>
                </c:pt>
                <c:pt idx="62">
                  <c:v>0.01643074014623047</c:v>
                </c:pt>
                <c:pt idx="63">
                  <c:v>0.018330343526856696</c:v>
                </c:pt>
                <c:pt idx="64">
                  <c:v>0.01576598405971108</c:v>
                </c:pt>
                <c:pt idx="65">
                  <c:v>0.00655336308270571</c:v>
                </c:pt>
                <c:pt idx="66">
                  <c:v>0.009877454912932127</c:v>
                </c:pt>
                <c:pt idx="67">
                  <c:v>0.01690562152903552</c:v>
                </c:pt>
                <c:pt idx="68">
                  <c:v>0.01690562152903552</c:v>
                </c:pt>
                <c:pt idx="69">
                  <c:v>0.01690562152903552</c:v>
                </c:pt>
                <c:pt idx="70">
                  <c:v>0.01633576386966973</c:v>
                </c:pt>
                <c:pt idx="71">
                  <c:v>0.018425319803417883</c:v>
                </c:pt>
                <c:pt idx="72">
                  <c:v>0.015576109355996293</c:v>
                </c:pt>
                <c:pt idx="73">
                  <c:v>0.015860960336272045</c:v>
                </c:pt>
                <c:pt idx="74">
                  <c:v>0.012251861826955812</c:v>
                </c:pt>
                <c:pt idx="75">
                  <c:v>0.012251861826955812</c:v>
                </c:pt>
                <c:pt idx="76">
                  <c:v>0.012251861826955812</c:v>
                </c:pt>
                <c:pt idx="77">
                  <c:v>0.00617353582586877</c:v>
                </c:pt>
                <c:pt idx="78">
                  <c:v>0.0058885291467789536</c:v>
                </c:pt>
                <c:pt idx="79">
                  <c:v>0.006268434253022814</c:v>
                </c:pt>
                <c:pt idx="80">
                  <c:v>0.006268434253022814</c:v>
                </c:pt>
                <c:pt idx="81">
                  <c:v>-0.01823521155148189</c:v>
                </c:pt>
                <c:pt idx="82">
                  <c:v>-0.01823521155148189</c:v>
                </c:pt>
                <c:pt idx="83">
                  <c:v>-0.01823521155148189</c:v>
                </c:pt>
                <c:pt idx="84">
                  <c:v>-0.0094025735301273</c:v>
                </c:pt>
                <c:pt idx="85">
                  <c:v>-0.022889282651189613</c:v>
                </c:pt>
                <c:pt idx="86">
                  <c:v>-0.03371642248032414</c:v>
                </c:pt>
                <c:pt idx="87">
                  <c:v>-0.019754987675271174</c:v>
                </c:pt>
                <c:pt idx="88">
                  <c:v>-0.028112900012635</c:v>
                </c:pt>
                <c:pt idx="89">
                  <c:v>-0.028112900012635</c:v>
                </c:pt>
                <c:pt idx="90">
                  <c:v>-0.028112900012635</c:v>
                </c:pt>
                <c:pt idx="91">
                  <c:v>-0.018330265677449997</c:v>
                </c:pt>
                <c:pt idx="92">
                  <c:v>0.0029442645733892547</c:v>
                </c:pt>
                <c:pt idx="93">
                  <c:v>0.005793475020810845</c:v>
                </c:pt>
                <c:pt idx="94">
                  <c:v>-0.0021844543609021994</c:v>
                </c:pt>
                <c:pt idx="95">
                  <c:v>0.003229271252479071</c:v>
                </c:pt>
                <c:pt idx="96">
                  <c:v>0.003229271252479071</c:v>
                </c:pt>
                <c:pt idx="97">
                  <c:v>0.003229271252479071</c:v>
                </c:pt>
                <c:pt idx="98">
                  <c:v>-0.006773131958715539</c:v>
                </c:pt>
                <c:pt idx="99">
                  <c:v>-0.012143495452388353</c:v>
                </c:pt>
                <c:pt idx="100">
                  <c:v>0.00013172119667248516</c:v>
                </c:pt>
                <c:pt idx="101">
                  <c:v>-0.004663257329736381</c:v>
                </c:pt>
                <c:pt idx="102">
                  <c:v>-0.014445035321444366</c:v>
                </c:pt>
                <c:pt idx="103">
                  <c:v>-0.014445035321444366</c:v>
                </c:pt>
                <c:pt idx="104">
                  <c:v>-0.014445035321444366</c:v>
                </c:pt>
                <c:pt idx="105">
                  <c:v>-0.023747183116519466</c:v>
                </c:pt>
                <c:pt idx="106">
                  <c:v>-0.00782799142379853</c:v>
                </c:pt>
                <c:pt idx="107">
                  <c:v>0.0014743120700906331</c:v>
                </c:pt>
                <c:pt idx="108">
                  <c:v>0.007899379330032152</c:v>
                </c:pt>
                <c:pt idx="109">
                  <c:v>0.007899379330032152</c:v>
                </c:pt>
                <c:pt idx="110">
                  <c:v>0.007899379330032152</c:v>
                </c:pt>
                <c:pt idx="111">
                  <c:v>0.007899379330032152</c:v>
                </c:pt>
                <c:pt idx="112">
                  <c:v>0.018927759876306016</c:v>
                </c:pt>
                <c:pt idx="113">
                  <c:v>0.01787297826063039</c:v>
                </c:pt>
                <c:pt idx="114">
                  <c:v>0.017968810880668595</c:v>
                </c:pt>
                <c:pt idx="115">
                  <c:v>0.016730927459688516</c:v>
                </c:pt>
                <c:pt idx="116">
                  <c:v>0.015099515286236542</c:v>
                </c:pt>
                <c:pt idx="117">
                  <c:v>0.015099515286236542</c:v>
                </c:pt>
                <c:pt idx="118">
                  <c:v>0.015099515286236542</c:v>
                </c:pt>
                <c:pt idx="119">
                  <c:v>0.020473615551446</c:v>
                </c:pt>
                <c:pt idx="120">
                  <c:v>0.019609798531183387</c:v>
                </c:pt>
                <c:pt idx="121">
                  <c:v>0.003008178936549921</c:v>
                </c:pt>
                <c:pt idx="122">
                  <c:v>0.0008970587170582522</c:v>
                </c:pt>
                <c:pt idx="123">
                  <c:v>0.0007050820793539359</c:v>
                </c:pt>
                <c:pt idx="124">
                  <c:v>0.0007050820793539359</c:v>
                </c:pt>
                <c:pt idx="125">
                  <c:v>0.0007050820793539359</c:v>
                </c:pt>
                <c:pt idx="126">
                  <c:v>-0.002173788992141157</c:v>
                </c:pt>
                <c:pt idx="127">
                  <c:v>0.00972572641865499</c:v>
                </c:pt>
                <c:pt idx="128">
                  <c:v>0.015867266138239744</c:v>
                </c:pt>
                <c:pt idx="129">
                  <c:v>0.0022405059339534183</c:v>
                </c:pt>
                <c:pt idx="130">
                  <c:v>0.002528393041102861</c:v>
                </c:pt>
                <c:pt idx="131">
                  <c:v>0.002528393041102861</c:v>
                </c:pt>
                <c:pt idx="132">
                  <c:v>0.002528393041102861</c:v>
                </c:pt>
                <c:pt idx="133">
                  <c:v>0.002528393041102861</c:v>
                </c:pt>
                <c:pt idx="134">
                  <c:v>-0.014840899556126996</c:v>
                </c:pt>
                <c:pt idx="135">
                  <c:v>-0.020790618336821498</c:v>
                </c:pt>
                <c:pt idx="136">
                  <c:v>-0.028467893308634196</c:v>
                </c:pt>
                <c:pt idx="137">
                  <c:v>-0.04497336888560144</c:v>
                </c:pt>
                <c:pt idx="138">
                  <c:v>-0.04497336888560144</c:v>
                </c:pt>
                <c:pt idx="139">
                  <c:v>-0.04497336888560144</c:v>
                </c:pt>
                <c:pt idx="140">
                  <c:v>-0.04650894843901521</c:v>
                </c:pt>
                <c:pt idx="141">
                  <c:v>-0.05610513344439427</c:v>
                </c:pt>
                <c:pt idx="142">
                  <c:v>-0.060807315477638624</c:v>
                </c:pt>
                <c:pt idx="143">
                  <c:v>-0.06560548582973513</c:v>
                </c:pt>
                <c:pt idx="144">
                  <c:v>-0.05063520055914661</c:v>
                </c:pt>
                <c:pt idx="145">
                  <c:v>-0.05063520055914661</c:v>
                </c:pt>
                <c:pt idx="146">
                  <c:v>-0.05063520055914661</c:v>
                </c:pt>
                <c:pt idx="147">
                  <c:v>-0.031058799423573036</c:v>
                </c:pt>
                <c:pt idx="148">
                  <c:v>-0.023573578938871687</c:v>
                </c:pt>
                <c:pt idx="149">
                  <c:v>-0.01733597305102763</c:v>
                </c:pt>
                <c:pt idx="150">
                  <c:v>-0.036144779033411956</c:v>
                </c:pt>
                <c:pt idx="151">
                  <c:v>-0.031826394576762174</c:v>
                </c:pt>
                <c:pt idx="152">
                  <c:v>-0.031826394576762174</c:v>
                </c:pt>
                <c:pt idx="153">
                  <c:v>-0.031826394576762174</c:v>
                </c:pt>
                <c:pt idx="154">
                  <c:v>-0.03374569385736359</c:v>
                </c:pt>
                <c:pt idx="155">
                  <c:v>-0.026260629071476416</c:v>
                </c:pt>
                <c:pt idx="156">
                  <c:v>-0.010906546224293101</c:v>
                </c:pt>
                <c:pt idx="157">
                  <c:v>-0.025204913262916406</c:v>
                </c:pt>
                <c:pt idx="158">
                  <c:v>-0.04372590998755821</c:v>
                </c:pt>
                <c:pt idx="159">
                  <c:v>-0.04372590998755821</c:v>
                </c:pt>
                <c:pt idx="160">
                  <c:v>-0.04372590998755821</c:v>
                </c:pt>
                <c:pt idx="161">
                  <c:v>-0.04727654359220457</c:v>
                </c:pt>
                <c:pt idx="162">
                  <c:v>-0.030578935678718833</c:v>
                </c:pt>
                <c:pt idx="163">
                  <c:v>-0.028371827140374895</c:v>
                </c:pt>
                <c:pt idx="164">
                  <c:v>-0.0471805552733523</c:v>
                </c:pt>
                <c:pt idx="165">
                  <c:v>-0.054281822482644904</c:v>
                </c:pt>
                <c:pt idx="166">
                  <c:v>-0.054281822482644904</c:v>
                </c:pt>
                <c:pt idx="167">
                  <c:v>-0.054281822482644904</c:v>
                </c:pt>
                <c:pt idx="168">
                  <c:v>-0.054281822482644904</c:v>
                </c:pt>
                <c:pt idx="169">
                  <c:v>-0.06522161040373331</c:v>
                </c:pt>
                <c:pt idx="170">
                  <c:v>-0.0784647287302388</c:v>
                </c:pt>
                <c:pt idx="171">
                  <c:v>-0.07462605231962893</c:v>
                </c:pt>
                <c:pt idx="172">
                  <c:v>-0.05409000154375454</c:v>
                </c:pt>
                <c:pt idx="173">
                  <c:v>-0.05409000154375454</c:v>
                </c:pt>
                <c:pt idx="174">
                  <c:v>-0.05409000154375454</c:v>
                </c:pt>
                <c:pt idx="175">
                  <c:v>-0.060711482857600196</c:v>
                </c:pt>
                <c:pt idx="176">
                  <c:v>-0.07664126206967548</c:v>
                </c:pt>
                <c:pt idx="177">
                  <c:v>-0.06339829944198405</c:v>
                </c:pt>
                <c:pt idx="178">
                  <c:v>-0.07289880752613886</c:v>
                </c:pt>
                <c:pt idx="179">
                  <c:v>-0.08662155604927724</c:v>
                </c:pt>
                <c:pt idx="180">
                  <c:v>-0.08662155604927724</c:v>
                </c:pt>
                <c:pt idx="181">
                  <c:v>-0.08662155604927724</c:v>
                </c:pt>
                <c:pt idx="182">
                  <c:v>-0.11502662488644766</c:v>
                </c:pt>
                <c:pt idx="183">
                  <c:v>-0.1160821849961935</c:v>
                </c:pt>
                <c:pt idx="184">
                  <c:v>-0.0893084504830679</c:v>
                </c:pt>
                <c:pt idx="185">
                  <c:v>-0.09650570601121267</c:v>
                </c:pt>
                <c:pt idx="186">
                  <c:v>-0.10898099563630781</c:v>
                </c:pt>
                <c:pt idx="187">
                  <c:v>-0.10898099563630781</c:v>
                </c:pt>
                <c:pt idx="188">
                  <c:v>-0.10898099563630781</c:v>
                </c:pt>
                <c:pt idx="189">
                  <c:v>-0.11473865992989096</c:v>
                </c:pt>
                <c:pt idx="190">
                  <c:v>-0.1009200787867145</c:v>
                </c:pt>
                <c:pt idx="191">
                  <c:v>-0.07049964450068358</c:v>
                </c:pt>
                <c:pt idx="192">
                  <c:v>-0.06099936996474975</c:v>
                </c:pt>
                <c:pt idx="193">
                  <c:v>-0.050635200559146276</c:v>
                </c:pt>
                <c:pt idx="194">
                  <c:v>-0.050635200559146276</c:v>
                </c:pt>
                <c:pt idx="195">
                  <c:v>-0.050635200559146276</c:v>
                </c:pt>
                <c:pt idx="196">
                  <c:v>-0.05399409107430919</c:v>
                </c:pt>
                <c:pt idx="197">
                  <c:v>-0.04257436155895988</c:v>
                </c:pt>
                <c:pt idx="198">
                  <c:v>-0.053322328541157926</c:v>
                </c:pt>
                <c:pt idx="199">
                  <c:v>-0.0423824627706626</c:v>
                </c:pt>
                <c:pt idx="200">
                  <c:v>-0.04055907395950642</c:v>
                </c:pt>
                <c:pt idx="201">
                  <c:v>-0.04055907395950642</c:v>
                </c:pt>
                <c:pt idx="202">
                  <c:v>-0.04055907395950642</c:v>
                </c:pt>
                <c:pt idx="203">
                  <c:v>-0.036816463717155745</c:v>
                </c:pt>
                <c:pt idx="204">
                  <c:v>-0.021366470400527415</c:v>
                </c:pt>
                <c:pt idx="205">
                  <c:v>-0.026836325436368158</c:v>
                </c:pt>
                <c:pt idx="206">
                  <c:v>-0.042478373240107836</c:v>
                </c:pt>
                <c:pt idx="207">
                  <c:v>-0.03624076735226378</c:v>
                </c:pt>
                <c:pt idx="208">
                  <c:v>-0.03624076735226378</c:v>
                </c:pt>
                <c:pt idx="209">
                  <c:v>-0.03624076735226378</c:v>
                </c:pt>
                <c:pt idx="210">
                  <c:v>-0.026932313755220205</c:v>
                </c:pt>
                <c:pt idx="211">
                  <c:v>-0.040847116765469926</c:v>
                </c:pt>
                <c:pt idx="212">
                  <c:v>-0.05188281515600346</c:v>
                </c:pt>
                <c:pt idx="213">
                  <c:v>-0.049867605405956805</c:v>
                </c:pt>
                <c:pt idx="214">
                  <c:v>-0.05073118887799832</c:v>
                </c:pt>
                <c:pt idx="215">
                  <c:v>-0.05073118887799832</c:v>
                </c:pt>
                <c:pt idx="216">
                  <c:v>-0.05073118887799832</c:v>
                </c:pt>
                <c:pt idx="217">
                  <c:v>-0.0642620386128393</c:v>
                </c:pt>
                <c:pt idx="218">
                  <c:v>-0.06944400654153049</c:v>
                </c:pt>
                <c:pt idx="219">
                  <c:v>-0.05821633151329253</c:v>
                </c:pt>
                <c:pt idx="220">
                  <c:v>-0.0681005593246351</c:v>
                </c:pt>
                <c:pt idx="221">
                  <c:v>-0.0681005593246351</c:v>
                </c:pt>
                <c:pt idx="222">
                  <c:v>-0.0681005593246351</c:v>
                </c:pt>
                <c:pt idx="223">
                  <c:v>-0.0681005593246351</c:v>
                </c:pt>
                <c:pt idx="224">
                  <c:v>-0.06963590532982777</c:v>
                </c:pt>
                <c:pt idx="225">
                  <c:v>-0.0597516775184852</c:v>
                </c:pt>
                <c:pt idx="226">
                  <c:v>-0.058888094046443795</c:v>
                </c:pt>
                <c:pt idx="227">
                  <c:v>-0.07347450389103072</c:v>
                </c:pt>
                <c:pt idx="228">
                  <c:v>-0.09429867532227576</c:v>
                </c:pt>
                <c:pt idx="229">
                  <c:v>-0.09429867532227576</c:v>
                </c:pt>
                <c:pt idx="230">
                  <c:v>-0.09429867532227576</c:v>
                </c:pt>
                <c:pt idx="231">
                  <c:v>-0.09285900623830723</c:v>
                </c:pt>
                <c:pt idx="232">
                  <c:v>-0.11790549595794264</c:v>
                </c:pt>
                <c:pt idx="233">
                  <c:v>-0.11454676114159368</c:v>
                </c:pt>
                <c:pt idx="234">
                  <c:v>-0.09602592011576583</c:v>
                </c:pt>
                <c:pt idx="235">
                  <c:v>-0.11972880691969179</c:v>
                </c:pt>
                <c:pt idx="236">
                  <c:v>-0.11972880691969179</c:v>
                </c:pt>
                <c:pt idx="237">
                  <c:v>-0.11972880691969179</c:v>
                </c:pt>
                <c:pt idx="238">
                  <c:v>-0.1168499358481967</c:v>
                </c:pt>
                <c:pt idx="239">
                  <c:v>-0.11147606913120822</c:v>
                </c:pt>
                <c:pt idx="240">
                  <c:v>-0.09055606507992509</c:v>
                </c:pt>
                <c:pt idx="241">
                  <c:v>-0.12155211788144105</c:v>
                </c:pt>
                <c:pt idx="242">
                  <c:v>-0.13028495296299958</c:v>
                </c:pt>
                <c:pt idx="243">
                  <c:v>-0.13028495296299958</c:v>
                </c:pt>
                <c:pt idx="244">
                  <c:v>-0.13028495296299958</c:v>
                </c:pt>
                <c:pt idx="245">
                  <c:v>-0.15782612693050047</c:v>
                </c:pt>
                <c:pt idx="246">
                  <c:v>-0.15485134538956014</c:v>
                </c:pt>
                <c:pt idx="247">
                  <c:v>-0.16540725788464683</c:v>
                </c:pt>
                <c:pt idx="248">
                  <c:v>-0.1665589620120589</c:v>
                </c:pt>
                <c:pt idx="249">
                  <c:v>-0.14458332000162277</c:v>
                </c:pt>
                <c:pt idx="250">
                  <c:v>-0.14458332000162277</c:v>
                </c:pt>
                <c:pt idx="251">
                  <c:v>-0.14458332000162277</c:v>
                </c:pt>
                <c:pt idx="252">
                  <c:v>-0.14736628060367263</c:v>
                </c:pt>
                <c:pt idx="253">
                  <c:v>-0.1300928984758879</c:v>
                </c:pt>
                <c:pt idx="254">
                  <c:v>-0.15916972984620947</c:v>
                </c:pt>
                <c:pt idx="255">
                  <c:v>-0.15840205684361308</c:v>
                </c:pt>
                <c:pt idx="256">
                  <c:v>-0.15600297166756483</c:v>
                </c:pt>
                <c:pt idx="257">
                  <c:v>-0.15600297166756483</c:v>
                </c:pt>
                <c:pt idx="258">
                  <c:v>-0.15600297166756483</c:v>
                </c:pt>
                <c:pt idx="259">
                  <c:v>-0.14237605576446455</c:v>
                </c:pt>
                <c:pt idx="260">
                  <c:v>-0.14947747867257122</c:v>
                </c:pt>
                <c:pt idx="261">
                  <c:v>-0.14362367036132184</c:v>
                </c:pt>
                <c:pt idx="262">
                  <c:v>-0.12951712426158868</c:v>
                </c:pt>
                <c:pt idx="263">
                  <c:v>-0.11176395623835711</c:v>
                </c:pt>
                <c:pt idx="264">
                  <c:v>-0.11176395623835711</c:v>
                </c:pt>
                <c:pt idx="265">
                  <c:v>-0.11176395623835711</c:v>
                </c:pt>
                <c:pt idx="266">
                  <c:v>-0.11176395623835711</c:v>
                </c:pt>
                <c:pt idx="267">
                  <c:v>-0.1157943757384502</c:v>
                </c:pt>
                <c:pt idx="268">
                  <c:v>-0.1223198687334438</c:v>
                </c:pt>
                <c:pt idx="269">
                  <c:v>-0.10466261117965747</c:v>
                </c:pt>
                <c:pt idx="270">
                  <c:v>-0.11953690813139395</c:v>
                </c:pt>
                <c:pt idx="271">
                  <c:v>-0.11953690813139395</c:v>
                </c:pt>
                <c:pt idx="272">
                  <c:v>-0.11953690813139395</c:v>
                </c:pt>
                <c:pt idx="273">
                  <c:v>-0.11637014995274941</c:v>
                </c:pt>
                <c:pt idx="274">
                  <c:v>-0.10965275816945852</c:v>
                </c:pt>
                <c:pt idx="275">
                  <c:v>-0.11800140642738732</c:v>
                </c:pt>
                <c:pt idx="276">
                  <c:v>-0.13856392600164769</c:v>
                </c:pt>
                <c:pt idx="277">
                  <c:v>-0.16093768987956947</c:v>
                </c:pt>
                <c:pt idx="278">
                  <c:v>-0.16093768987956947</c:v>
                </c:pt>
                <c:pt idx="279">
                  <c:v>-0.16093768987956947</c:v>
                </c:pt>
                <c:pt idx="280">
                  <c:v>-0.19202832971061135</c:v>
                </c:pt>
                <c:pt idx="281">
                  <c:v>-0.1944499133652875</c:v>
                </c:pt>
                <c:pt idx="282">
                  <c:v>-0.18214900641191067</c:v>
                </c:pt>
                <c:pt idx="283">
                  <c:v>-0.2060725962847304</c:v>
                </c:pt>
                <c:pt idx="284">
                  <c:v>-0.20645981923523382</c:v>
                </c:pt>
                <c:pt idx="285">
                  <c:v>-0.20645981923523382</c:v>
                </c:pt>
                <c:pt idx="286">
                  <c:v>-0.20645981923523382</c:v>
                </c:pt>
                <c:pt idx="287">
                  <c:v>-0.20645981923523382</c:v>
                </c:pt>
                <c:pt idx="288">
                  <c:v>-0.1887353776431916</c:v>
                </c:pt>
                <c:pt idx="289">
                  <c:v>-0.19338438853144313</c:v>
                </c:pt>
                <c:pt idx="290">
                  <c:v>-0.1887353776431916</c:v>
                </c:pt>
                <c:pt idx="291">
                  <c:v>-0.16403710832114393</c:v>
                </c:pt>
                <c:pt idx="292">
                  <c:v>-0.16403710832114393</c:v>
                </c:pt>
                <c:pt idx="293">
                  <c:v>-0.16403710832114393</c:v>
                </c:pt>
                <c:pt idx="294">
                  <c:v>-0.16645853627700613</c:v>
                </c:pt>
                <c:pt idx="295">
                  <c:v>-0.17875913183275483</c:v>
                </c:pt>
                <c:pt idx="296">
                  <c:v>-0.18098694831336537</c:v>
                </c:pt>
                <c:pt idx="297">
                  <c:v>-0.18747624133409602</c:v>
                </c:pt>
                <c:pt idx="298">
                  <c:v>-0.18176170561200033</c:v>
                </c:pt>
                <c:pt idx="299">
                  <c:v>-0.18176170561200033</c:v>
                </c:pt>
                <c:pt idx="300">
                  <c:v>-0.18176170561200033</c:v>
                </c:pt>
                <c:pt idx="301">
                  <c:v>-0.18176170561200033</c:v>
                </c:pt>
                <c:pt idx="302">
                  <c:v>-0.18592657103801213</c:v>
                </c:pt>
                <c:pt idx="303">
                  <c:v>-0.1847642015418387</c:v>
                </c:pt>
                <c:pt idx="304">
                  <c:v>-0.17178545980156346</c:v>
                </c:pt>
                <c:pt idx="305">
                  <c:v>-0.17236676132376072</c:v>
                </c:pt>
                <c:pt idx="306">
                  <c:v>-0.17236676132376072</c:v>
                </c:pt>
                <c:pt idx="307">
                  <c:v>-0.17236676132376072</c:v>
                </c:pt>
                <c:pt idx="308">
                  <c:v>-0.1840862110561261</c:v>
                </c:pt>
                <c:pt idx="309">
                  <c:v>-0.18912267844310215</c:v>
                </c:pt>
                <c:pt idx="310">
                  <c:v>-0.1924159419081497</c:v>
                </c:pt>
                <c:pt idx="311">
                  <c:v>-0.1979365547573656</c:v>
                </c:pt>
                <c:pt idx="312">
                  <c:v>-0.18427997823019193</c:v>
                </c:pt>
                <c:pt idx="313">
                  <c:v>-0.18427997823019193</c:v>
                </c:pt>
                <c:pt idx="314">
                  <c:v>-0.18427997823019193</c:v>
                </c:pt>
                <c:pt idx="315">
                  <c:v>-0.1865076390119883</c:v>
                </c:pt>
                <c:pt idx="316">
                  <c:v>-0.16587739045362315</c:v>
                </c:pt>
                <c:pt idx="317">
                  <c:v>-0.16326219532369524</c:v>
                </c:pt>
                <c:pt idx="318">
                  <c:v>-0.15473900869523405</c:v>
                </c:pt>
                <c:pt idx="319">
                  <c:v>-0.16190629220167718</c:v>
                </c:pt>
                <c:pt idx="320">
                  <c:v>-0.16190629220167718</c:v>
                </c:pt>
                <c:pt idx="321">
                  <c:v>-0.16190629220167718</c:v>
                </c:pt>
                <c:pt idx="322">
                  <c:v>-0.15929101922234212</c:v>
                </c:pt>
                <c:pt idx="323">
                  <c:v>-0.16946103220684472</c:v>
                </c:pt>
                <c:pt idx="324">
                  <c:v>-0.14912131763546754</c:v>
                </c:pt>
                <c:pt idx="325">
                  <c:v>-0.14098535395750966</c:v>
                </c:pt>
                <c:pt idx="326">
                  <c:v>-0.13004066152377924</c:v>
                </c:pt>
                <c:pt idx="327">
                  <c:v>-0.13004066152377924</c:v>
                </c:pt>
                <c:pt idx="328">
                  <c:v>-0.13004066152377924</c:v>
                </c:pt>
                <c:pt idx="329">
                  <c:v>-0.13284939027955178</c:v>
                </c:pt>
                <c:pt idx="330">
                  <c:v>-0.13962937298608447</c:v>
                </c:pt>
                <c:pt idx="331">
                  <c:v>-0.12858783589002465</c:v>
                </c:pt>
                <c:pt idx="332">
                  <c:v>-0.12723185491859945</c:v>
                </c:pt>
                <c:pt idx="333">
                  <c:v>-0.1299437390120427</c:v>
                </c:pt>
                <c:pt idx="334">
                  <c:v>-0.1299437390120427</c:v>
                </c:pt>
                <c:pt idx="335">
                  <c:v>-0.1299437390120427</c:v>
                </c:pt>
                <c:pt idx="336">
                  <c:v>-0.12955643821213225</c:v>
                </c:pt>
                <c:pt idx="337">
                  <c:v>-0.13372114793933</c:v>
                </c:pt>
                <c:pt idx="338">
                  <c:v>-0.11560924984856336</c:v>
                </c:pt>
                <c:pt idx="339">
                  <c:v>-0.11483418115230037</c:v>
                </c:pt>
                <c:pt idx="340">
                  <c:v>-0.10263043025888108</c:v>
                </c:pt>
                <c:pt idx="341">
                  <c:v>-0.10263043025888108</c:v>
                </c:pt>
                <c:pt idx="342">
                  <c:v>-0.10263043025888108</c:v>
                </c:pt>
                <c:pt idx="343">
                  <c:v>-0.10282411958353976</c:v>
                </c:pt>
                <c:pt idx="344">
                  <c:v>-0.10214612909782717</c:v>
                </c:pt>
                <c:pt idx="345">
                  <c:v>-0.10863549996796473</c:v>
                </c:pt>
                <c:pt idx="346">
                  <c:v>-0.10892611180435985</c:v>
                </c:pt>
                <c:pt idx="347">
                  <c:v>-0.12083948440960501</c:v>
                </c:pt>
                <c:pt idx="348">
                  <c:v>-0.12083948440960501</c:v>
                </c:pt>
                <c:pt idx="349">
                  <c:v>-0.12083948440960501</c:v>
                </c:pt>
                <c:pt idx="350">
                  <c:v>-0.1374017900536948</c:v>
                </c:pt>
                <c:pt idx="351">
                  <c:v>-0.13749855686661716</c:v>
                </c:pt>
                <c:pt idx="352">
                  <c:v>-0.13527097393422782</c:v>
                </c:pt>
                <c:pt idx="353">
                  <c:v>-0.12248592151861126</c:v>
                </c:pt>
                <c:pt idx="354">
                  <c:v>-0.14863693862500638</c:v>
                </c:pt>
                <c:pt idx="355">
                  <c:v>-0.14863693862500638</c:v>
                </c:pt>
                <c:pt idx="356">
                  <c:v>-0.14863693862500638</c:v>
                </c:pt>
                <c:pt idx="357">
                  <c:v>-0.15386717318604826</c:v>
                </c:pt>
                <c:pt idx="358">
                  <c:v>-0.1625842048379823</c:v>
                </c:pt>
                <c:pt idx="359">
                  <c:v>-0.16800812872368287</c:v>
                </c:pt>
                <c:pt idx="360">
                  <c:v>-0.17004210018082055</c:v>
                </c:pt>
                <c:pt idx="361">
                  <c:v>-0.17720946153667072</c:v>
                </c:pt>
                <c:pt idx="362">
                  <c:v>-0.17720946153667072</c:v>
                </c:pt>
                <c:pt idx="363">
                  <c:v>-0.17720946153667072</c:v>
                </c:pt>
                <c:pt idx="364">
                  <c:v>-0.17720946153667072</c:v>
                </c:pt>
                <c:pt idx="365">
                  <c:v>-0.181761705612</c:v>
                </c:pt>
                <c:pt idx="366">
                  <c:v>-0.16955787686917367</c:v>
                </c:pt>
                <c:pt idx="367">
                  <c:v>-0.1656837011289639</c:v>
                </c:pt>
                <c:pt idx="368">
                  <c:v>-0.15028353143282647</c:v>
                </c:pt>
                <c:pt idx="369">
                  <c:v>-0.15028353143282647</c:v>
                </c:pt>
                <c:pt idx="370">
                  <c:v>-0.15028353143282647</c:v>
                </c:pt>
                <c:pt idx="371">
                  <c:v>-0.13982314016014985</c:v>
                </c:pt>
                <c:pt idx="372">
                  <c:v>-0.17381958695751476</c:v>
                </c:pt>
                <c:pt idx="373">
                  <c:v>-0.1705263234924672</c:v>
                </c:pt>
                <c:pt idx="374">
                  <c:v>-0.17914666618088593</c:v>
                </c:pt>
                <c:pt idx="375">
                  <c:v>-0.18650763901198786</c:v>
                </c:pt>
                <c:pt idx="376">
                  <c:v>-0.18650763901198786</c:v>
                </c:pt>
                <c:pt idx="377">
                  <c:v>-0.18650763901198786</c:v>
                </c:pt>
                <c:pt idx="378">
                  <c:v>-0.18118055978861658</c:v>
                </c:pt>
                <c:pt idx="379">
                  <c:v>-0.19125357241197583</c:v>
                </c:pt>
                <c:pt idx="380">
                  <c:v>-0.2045229259886462</c:v>
                </c:pt>
                <c:pt idx="381">
                  <c:v>-0.21043107318599363</c:v>
                </c:pt>
                <c:pt idx="382">
                  <c:v>-0.22699337883008341</c:v>
                </c:pt>
                <c:pt idx="383">
                  <c:v>-0.22699337883008341</c:v>
                </c:pt>
                <c:pt idx="384">
                  <c:v>-0.22699337883008341</c:v>
                </c:pt>
                <c:pt idx="385">
                  <c:v>-0.2361947894924783</c:v>
                </c:pt>
                <c:pt idx="386">
                  <c:v>-0.23871298426126286</c:v>
                </c:pt>
                <c:pt idx="387">
                  <c:v>-0.22311912524046673</c:v>
                </c:pt>
                <c:pt idx="388">
                  <c:v>-0.23774445978856218</c:v>
                </c:pt>
                <c:pt idx="389">
                  <c:v>-0.2461708017546942</c:v>
                </c:pt>
                <c:pt idx="390">
                  <c:v>-0.2461708017546942</c:v>
                </c:pt>
                <c:pt idx="391">
                  <c:v>-0.2461708017546942</c:v>
                </c:pt>
                <c:pt idx="392">
                  <c:v>-0.22825251513917932</c:v>
                </c:pt>
                <c:pt idx="393">
                  <c:v>-0.20190773085871838</c:v>
                </c:pt>
                <c:pt idx="394">
                  <c:v>-0.20549145046134698</c:v>
                </c:pt>
                <c:pt idx="395">
                  <c:v>-0.21469262757552077</c:v>
                </c:pt>
                <c:pt idx="396">
                  <c:v>-0.2346450413469875</c:v>
                </c:pt>
                <c:pt idx="397">
                  <c:v>-0.2346450413469875</c:v>
                </c:pt>
                <c:pt idx="398">
                  <c:v>-0.2346450413469875</c:v>
                </c:pt>
                <c:pt idx="399">
                  <c:v>-0.24074687786899363</c:v>
                </c:pt>
                <c:pt idx="400">
                  <c:v>-0.2471394040768019</c:v>
                </c:pt>
                <c:pt idx="401">
                  <c:v>-0.2491733755339397</c:v>
                </c:pt>
                <c:pt idx="402">
                  <c:v>-0.23222353554171837</c:v>
                </c:pt>
                <c:pt idx="403">
                  <c:v>-0.2484953850482271</c:v>
                </c:pt>
                <c:pt idx="404">
                  <c:v>-0.2484953850482271</c:v>
                </c:pt>
                <c:pt idx="405">
                  <c:v>-0.2484953850482271</c:v>
                </c:pt>
                <c:pt idx="406">
                  <c:v>-0.22902735028722132</c:v>
                </c:pt>
                <c:pt idx="407">
                  <c:v>-0.22176314426904176</c:v>
                </c:pt>
                <c:pt idx="408">
                  <c:v>-0.2297052629235269</c:v>
                </c:pt>
                <c:pt idx="409">
                  <c:v>-0.23338582718848488</c:v>
                </c:pt>
                <c:pt idx="410">
                  <c:v>-0.2171141333807901</c:v>
                </c:pt>
                <c:pt idx="411">
                  <c:v>-0.2171141333807901</c:v>
                </c:pt>
                <c:pt idx="412">
                  <c:v>-0.2171141333807901</c:v>
                </c:pt>
                <c:pt idx="413">
                  <c:v>-0.2147895500872573</c:v>
                </c:pt>
                <c:pt idx="414">
                  <c:v>-0.2009391285366109</c:v>
                </c:pt>
                <c:pt idx="415">
                  <c:v>-0.2008422838742815</c:v>
                </c:pt>
                <c:pt idx="416">
                  <c:v>-0.20568506193659886</c:v>
                </c:pt>
                <c:pt idx="417">
                  <c:v>-0.19299700988212565</c:v>
                </c:pt>
                <c:pt idx="418">
                  <c:v>-0.19299700988212565</c:v>
                </c:pt>
                <c:pt idx="419">
                  <c:v>-0.19299700988212565</c:v>
                </c:pt>
                <c:pt idx="420">
                  <c:v>-0.19832416695490385</c:v>
                </c:pt>
                <c:pt idx="421">
                  <c:v>-0.19754925395745493</c:v>
                </c:pt>
                <c:pt idx="422">
                  <c:v>-0.2140147149392153</c:v>
                </c:pt>
                <c:pt idx="423">
                  <c:v>-0.22089146445867036</c:v>
                </c:pt>
                <c:pt idx="424">
                  <c:v>-0.20258572134443098</c:v>
                </c:pt>
                <c:pt idx="425">
                  <c:v>-0.20258572134443098</c:v>
                </c:pt>
                <c:pt idx="426">
                  <c:v>-0.20258572134443098</c:v>
                </c:pt>
                <c:pt idx="427">
                  <c:v>-0.19754925395745493</c:v>
                </c:pt>
                <c:pt idx="428">
                  <c:v>-0.19193156289768853</c:v>
                </c:pt>
                <c:pt idx="429">
                  <c:v>-0.20684735358336515</c:v>
                </c:pt>
                <c:pt idx="430">
                  <c:v>-0.16432756445872476</c:v>
                </c:pt>
                <c:pt idx="431">
                  <c:v>-0.15163951240425166</c:v>
                </c:pt>
                <c:pt idx="432">
                  <c:v>-0.15163951240425166</c:v>
                </c:pt>
                <c:pt idx="433">
                  <c:v>-0.15163951240425166</c:v>
                </c:pt>
                <c:pt idx="434">
                  <c:v>-0.15929101922234168</c:v>
                </c:pt>
                <c:pt idx="435">
                  <c:v>-0.1511552890926049</c:v>
                </c:pt>
                <c:pt idx="436">
                  <c:v>-0.1575476596015991</c:v>
                </c:pt>
                <c:pt idx="437">
                  <c:v>-0.15958170890814383</c:v>
                </c:pt>
                <c:pt idx="438">
                  <c:v>-0.1579351161003235</c:v>
                </c:pt>
                <c:pt idx="439">
                  <c:v>-0.1579351161003235</c:v>
                </c:pt>
                <c:pt idx="440">
                  <c:v>-0.1579351161003235</c:v>
                </c:pt>
                <c:pt idx="441">
                  <c:v>-0.16258420483798208</c:v>
                </c:pt>
                <c:pt idx="442">
                  <c:v>-0.1521238914147124</c:v>
                </c:pt>
                <c:pt idx="443">
                  <c:v>-0.1455375980328384</c:v>
                </c:pt>
                <c:pt idx="444">
                  <c:v>-0.1455375980328384</c:v>
                </c:pt>
                <c:pt idx="445">
                  <c:v>-0.14485968539653282</c:v>
                </c:pt>
                <c:pt idx="446">
                  <c:v>-0.14485968539653282</c:v>
                </c:pt>
                <c:pt idx="447">
                  <c:v>-0.14485968539653282</c:v>
                </c:pt>
                <c:pt idx="448">
                  <c:v>-0.1572571256146108</c:v>
                </c:pt>
                <c:pt idx="449">
                  <c:v>-0.1555136881444611</c:v>
                </c:pt>
                <c:pt idx="450">
                  <c:v>-0.1314935650069401</c:v>
                </c:pt>
                <c:pt idx="451">
                  <c:v>-0.13023435084843737</c:v>
                </c:pt>
                <c:pt idx="452">
                  <c:v>-0.1310092638458863</c:v>
                </c:pt>
                <c:pt idx="453">
                  <c:v>-0.1310092638458863</c:v>
                </c:pt>
                <c:pt idx="454">
                  <c:v>-0.1310092638458863</c:v>
                </c:pt>
                <c:pt idx="455">
                  <c:v>-0.14582813201982647</c:v>
                </c:pt>
                <c:pt idx="456">
                  <c:v>-0.15493269801989207</c:v>
                </c:pt>
                <c:pt idx="457">
                  <c:v>-0.15648244616538298</c:v>
                </c:pt>
                <c:pt idx="458">
                  <c:v>-0.14999299744583827</c:v>
                </c:pt>
                <c:pt idx="459">
                  <c:v>-0.15406094036011375</c:v>
                </c:pt>
                <c:pt idx="460">
                  <c:v>-0.15406094036011375</c:v>
                </c:pt>
                <c:pt idx="461">
                  <c:v>-0.15406094036011375</c:v>
                </c:pt>
                <c:pt idx="462">
                  <c:v>-0.14650604465613204</c:v>
                </c:pt>
                <c:pt idx="463">
                  <c:v>-0.1386392842276395</c:v>
                </c:pt>
                <c:pt idx="464">
                  <c:v>-0.14195784874996764</c:v>
                </c:pt>
                <c:pt idx="465">
                  <c:v>-0.16304040236310258</c:v>
                </c:pt>
                <c:pt idx="466">
                  <c:v>-0.17114156735612385</c:v>
                </c:pt>
                <c:pt idx="467">
                  <c:v>-0.17114156735612385</c:v>
                </c:pt>
                <c:pt idx="468">
                  <c:v>-0.17114156735612385</c:v>
                </c:pt>
                <c:pt idx="469">
                  <c:v>-0.17621695944660853</c:v>
                </c:pt>
                <c:pt idx="470">
                  <c:v>-0.17436258657145942</c:v>
                </c:pt>
                <c:pt idx="471">
                  <c:v>-0.16352844029569336</c:v>
                </c:pt>
                <c:pt idx="472">
                  <c:v>-0.17358167916967016</c:v>
                </c:pt>
                <c:pt idx="473">
                  <c:v>-0.16977515456415848</c:v>
                </c:pt>
                <c:pt idx="474">
                  <c:v>-0.16977515456415848</c:v>
                </c:pt>
                <c:pt idx="475">
                  <c:v>-0.16977515456415848</c:v>
                </c:pt>
                <c:pt idx="476">
                  <c:v>-0.16977515456415848</c:v>
                </c:pt>
                <c:pt idx="477">
                  <c:v>-0.17006794618395005</c:v>
                </c:pt>
                <c:pt idx="478">
                  <c:v>-0.18080446930331662</c:v>
                </c:pt>
                <c:pt idx="479">
                  <c:v>-0.1665541353488228</c:v>
                </c:pt>
                <c:pt idx="480">
                  <c:v>-0.17153198213231502</c:v>
                </c:pt>
                <c:pt idx="481">
                  <c:v>-0.17153198213231502</c:v>
                </c:pt>
                <c:pt idx="482">
                  <c:v>-0.17153198213231502</c:v>
                </c:pt>
                <c:pt idx="483">
                  <c:v>-0.17153198213231502</c:v>
                </c:pt>
                <c:pt idx="484">
                  <c:v>-0.17133673581951592</c:v>
                </c:pt>
                <c:pt idx="485">
                  <c:v>-0.16079545901294834</c:v>
                </c:pt>
                <c:pt idx="486">
                  <c:v>-0.16938466193856017</c:v>
                </c:pt>
                <c:pt idx="487">
                  <c:v>-0.15015655904998115</c:v>
                </c:pt>
                <c:pt idx="488">
                  <c:v>-0.15015655904998115</c:v>
                </c:pt>
                <c:pt idx="489">
                  <c:v>-0.15015655904998115</c:v>
                </c:pt>
                <c:pt idx="490">
                  <c:v>-0.148302108325425</c:v>
                </c:pt>
                <c:pt idx="491">
                  <c:v>-0.143519507854732</c:v>
                </c:pt>
                <c:pt idx="492">
                  <c:v>-0.1345398901529291</c:v>
                </c:pt>
                <c:pt idx="493">
                  <c:v>-0.12848834434785616</c:v>
                </c:pt>
                <c:pt idx="494">
                  <c:v>-0.12458411873653785</c:v>
                </c:pt>
                <c:pt idx="495">
                  <c:v>-0.12458411873653785</c:v>
                </c:pt>
                <c:pt idx="496">
                  <c:v>-0.12458411873653785</c:v>
                </c:pt>
                <c:pt idx="497">
                  <c:v>-0.12458411873653785</c:v>
                </c:pt>
                <c:pt idx="498">
                  <c:v>-0.12516977982552813</c:v>
                </c:pt>
                <c:pt idx="499">
                  <c:v>-0.1347350586163213</c:v>
                </c:pt>
                <c:pt idx="500">
                  <c:v>-0.1381511684456419</c:v>
                </c:pt>
                <c:pt idx="501">
                  <c:v>-0.12477944289874399</c:v>
                </c:pt>
                <c:pt idx="502">
                  <c:v>-0.12477944289874399</c:v>
                </c:pt>
                <c:pt idx="503">
                  <c:v>-0.12477944289874399</c:v>
                </c:pt>
                <c:pt idx="504">
                  <c:v>-0.117068692681914</c:v>
                </c:pt>
                <c:pt idx="505">
                  <c:v>-0.11823985916108037</c:v>
                </c:pt>
                <c:pt idx="506">
                  <c:v>-0.11619016212372513</c:v>
                </c:pt>
                <c:pt idx="507">
                  <c:v>-0.10867458037028721</c:v>
                </c:pt>
                <c:pt idx="508">
                  <c:v>-0.10818662028710346</c:v>
                </c:pt>
                <c:pt idx="509">
                  <c:v>-0.10818662028710346</c:v>
                </c:pt>
                <c:pt idx="510">
                  <c:v>-0.10818662028710346</c:v>
                </c:pt>
                <c:pt idx="511">
                  <c:v>-0.11892314340647003</c:v>
                </c:pt>
                <c:pt idx="512">
                  <c:v>-0.10935786461567676</c:v>
                </c:pt>
                <c:pt idx="513">
                  <c:v>-0.10028062375747437</c:v>
                </c:pt>
                <c:pt idx="514">
                  <c:v>-0.09296028831683534</c:v>
                </c:pt>
                <c:pt idx="515">
                  <c:v>-0.10340401981641023</c:v>
                </c:pt>
                <c:pt idx="516">
                  <c:v>-0.10340401981641023</c:v>
                </c:pt>
                <c:pt idx="517">
                  <c:v>-0.10340401981641023</c:v>
                </c:pt>
                <c:pt idx="518">
                  <c:v>-0.1108218227146347</c:v>
                </c:pt>
                <c:pt idx="519">
                  <c:v>-0.1013543227790551</c:v>
                </c:pt>
                <c:pt idx="520">
                  <c:v>-0.10906507299588508</c:v>
                </c:pt>
                <c:pt idx="521">
                  <c:v>-0.1129692986072034</c:v>
                </c:pt>
                <c:pt idx="522">
                  <c:v>-0.11374997246077156</c:v>
                </c:pt>
                <c:pt idx="523">
                  <c:v>-0.11374997246077156</c:v>
                </c:pt>
                <c:pt idx="524">
                  <c:v>-0.11374997246077156</c:v>
                </c:pt>
                <c:pt idx="525">
                  <c:v>-0.10438001783218442</c:v>
                </c:pt>
                <c:pt idx="526">
                  <c:v>-0.10389197989959376</c:v>
                </c:pt>
                <c:pt idx="527">
                  <c:v>-0.10330631881060348</c:v>
                </c:pt>
                <c:pt idx="528">
                  <c:v>-0.11238355966880609</c:v>
                </c:pt>
                <c:pt idx="529">
                  <c:v>-0.11462850301896044</c:v>
                </c:pt>
                <c:pt idx="530">
                  <c:v>-0.11462850301896044</c:v>
                </c:pt>
                <c:pt idx="531">
                  <c:v>-0.11462850301896044</c:v>
                </c:pt>
                <c:pt idx="532">
                  <c:v>-0.11462850301896044</c:v>
                </c:pt>
                <c:pt idx="533">
                  <c:v>-0.12975713398342192</c:v>
                </c:pt>
                <c:pt idx="534">
                  <c:v>-0.13209970048997566</c:v>
                </c:pt>
                <c:pt idx="535">
                  <c:v>-0.12790283895767984</c:v>
                </c:pt>
                <c:pt idx="536">
                  <c:v>-0.1395176590870142</c:v>
                </c:pt>
                <c:pt idx="537">
                  <c:v>-0.1395176590870142</c:v>
                </c:pt>
                <c:pt idx="538">
                  <c:v>-0.1395176590870142</c:v>
                </c:pt>
                <c:pt idx="539">
                  <c:v>-0.1344422669965296</c:v>
                </c:pt>
                <c:pt idx="540">
                  <c:v>-0.13893207584743117</c:v>
                </c:pt>
                <c:pt idx="541">
                  <c:v>-0.137077547273468</c:v>
                </c:pt>
                <c:pt idx="542">
                  <c:v>-0.13239256995917437</c:v>
                </c:pt>
                <c:pt idx="543">
                  <c:v>-0.11931348033325395</c:v>
                </c:pt>
                <c:pt idx="544">
                  <c:v>-0.11931348033325395</c:v>
                </c:pt>
                <c:pt idx="545">
                  <c:v>-0.11931348033325395</c:v>
                </c:pt>
                <c:pt idx="546">
                  <c:v>-0.11989921927165115</c:v>
                </c:pt>
                <c:pt idx="547">
                  <c:v>-0.13375906060054676</c:v>
                </c:pt>
                <c:pt idx="548">
                  <c:v>-0.13190445417717656</c:v>
                </c:pt>
                <c:pt idx="549">
                  <c:v>-0.14586191866247167</c:v>
                </c:pt>
                <c:pt idx="550">
                  <c:v>-0.15708655756383594</c:v>
                </c:pt>
                <c:pt idx="551">
                  <c:v>-0.15708655756383594</c:v>
                </c:pt>
                <c:pt idx="552">
                  <c:v>-0.15708655756383594</c:v>
                </c:pt>
                <c:pt idx="553">
                  <c:v>-0.15923387775759068</c:v>
                </c:pt>
                <c:pt idx="554">
                  <c:v>-0.14761890192944227</c:v>
                </c:pt>
                <c:pt idx="555">
                  <c:v>-0.15942904622098264</c:v>
                </c:pt>
                <c:pt idx="556">
                  <c:v>-0.14576437335547898</c:v>
                </c:pt>
                <c:pt idx="557">
                  <c:v>-0.15503686052648058</c:v>
                </c:pt>
                <c:pt idx="558">
                  <c:v>-0.15503686052648058</c:v>
                </c:pt>
                <c:pt idx="559">
                  <c:v>-0.15503686052648058</c:v>
                </c:pt>
                <c:pt idx="560">
                  <c:v>-0.14683791667824586</c:v>
                </c:pt>
                <c:pt idx="561">
                  <c:v>-0.13551588816870308</c:v>
                </c:pt>
                <c:pt idx="562">
                  <c:v>-0.14478829749029765</c:v>
                </c:pt>
                <c:pt idx="563">
                  <c:v>-0.14254343198955044</c:v>
                </c:pt>
                <c:pt idx="564">
                  <c:v>-0.14049381280160222</c:v>
                </c:pt>
                <c:pt idx="565">
                  <c:v>-0.14049381280160222</c:v>
                </c:pt>
                <c:pt idx="566">
                  <c:v>-0.14049381280160222</c:v>
                </c:pt>
                <c:pt idx="567">
                  <c:v>-0.1374679620496586</c:v>
                </c:pt>
                <c:pt idx="568">
                  <c:v>-0.13668713249727626</c:v>
                </c:pt>
                <c:pt idx="569">
                  <c:v>-0.12614577784130176</c:v>
                </c:pt>
                <c:pt idx="570">
                  <c:v>-0.11902068871346194</c:v>
                </c:pt>
                <c:pt idx="571">
                  <c:v>-0.11023623947505101</c:v>
                </c:pt>
                <c:pt idx="572">
                  <c:v>-0.11023623947505101</c:v>
                </c:pt>
                <c:pt idx="573">
                  <c:v>-0.11023623947505101</c:v>
                </c:pt>
                <c:pt idx="574">
                  <c:v>-0.10506322422816672</c:v>
                </c:pt>
                <c:pt idx="575">
                  <c:v>-0.1081866202871028</c:v>
                </c:pt>
                <c:pt idx="576">
                  <c:v>-0.11277397444499682</c:v>
                </c:pt>
                <c:pt idx="577">
                  <c:v>-0.10926024145927671</c:v>
                </c:pt>
                <c:pt idx="578">
                  <c:v>-0.10926024145927671</c:v>
                </c:pt>
                <c:pt idx="579">
                  <c:v>-0.10926024145927671</c:v>
                </c:pt>
                <c:pt idx="580">
                  <c:v>-0.10926024145927671</c:v>
                </c:pt>
                <c:pt idx="581">
                  <c:v>-0.10867458037028643</c:v>
                </c:pt>
                <c:pt idx="582">
                  <c:v>-0.1069177528021299</c:v>
                </c:pt>
                <c:pt idx="583">
                  <c:v>-0.1083818665999019</c:v>
                </c:pt>
                <c:pt idx="584">
                  <c:v>-0.09647409915196192</c:v>
                </c:pt>
                <c:pt idx="585">
                  <c:v>-0.09910930157949327</c:v>
                </c:pt>
                <c:pt idx="586">
                  <c:v>-0.09910930157949327</c:v>
                </c:pt>
                <c:pt idx="587">
                  <c:v>-0.09910930157949327</c:v>
                </c:pt>
                <c:pt idx="588">
                  <c:v>-0.09745009716773623</c:v>
                </c:pt>
                <c:pt idx="589">
                  <c:v>-0.09579081490657204</c:v>
                </c:pt>
                <c:pt idx="590">
                  <c:v>-0.09764542132994225</c:v>
                </c:pt>
                <c:pt idx="591">
                  <c:v>-0.1009637523040493</c:v>
                </c:pt>
                <c:pt idx="592">
                  <c:v>-0.10037832476328012</c:v>
                </c:pt>
                <c:pt idx="593">
                  <c:v>-0.10037832476328012</c:v>
                </c:pt>
                <c:pt idx="594">
                  <c:v>-0.10037832476328012</c:v>
                </c:pt>
                <c:pt idx="595">
                  <c:v>-0.099987754288275</c:v>
                </c:pt>
                <c:pt idx="596">
                  <c:v>-0.11443325670616089</c:v>
                </c:pt>
                <c:pt idx="597">
                  <c:v>-0.11667812220690821</c:v>
                </c:pt>
                <c:pt idx="598">
                  <c:v>-0.10154941339303969</c:v>
                </c:pt>
                <c:pt idx="599">
                  <c:v>-0.0962787749897559</c:v>
                </c:pt>
                <c:pt idx="600">
                  <c:v>-0.0962787749897559</c:v>
                </c:pt>
                <c:pt idx="601">
                  <c:v>-0.0962787749897559</c:v>
                </c:pt>
                <c:pt idx="602">
                  <c:v>-0.09745009716773634</c:v>
                </c:pt>
                <c:pt idx="603">
                  <c:v>-0.10760095919811274</c:v>
                </c:pt>
                <c:pt idx="604">
                  <c:v>-0.11082182271463425</c:v>
                </c:pt>
                <c:pt idx="605">
                  <c:v>-0.1140429976287839</c:v>
                </c:pt>
                <c:pt idx="606">
                  <c:v>-0.0990117562725008</c:v>
                </c:pt>
                <c:pt idx="607">
                  <c:v>-0.0990117562725008</c:v>
                </c:pt>
                <c:pt idx="608">
                  <c:v>-0.0990117562725008</c:v>
                </c:pt>
                <c:pt idx="609">
                  <c:v>-0.09862141934571667</c:v>
                </c:pt>
                <c:pt idx="610">
                  <c:v>-0.10242794395122845</c:v>
                </c:pt>
                <c:pt idx="611">
                  <c:v>-0.10018300060107421</c:v>
                </c:pt>
                <c:pt idx="612">
                  <c:v>-0.10242794395122845</c:v>
                </c:pt>
                <c:pt idx="613">
                  <c:v>-0.10496567892117425</c:v>
                </c:pt>
                <c:pt idx="614">
                  <c:v>-0.10496567892117425</c:v>
                </c:pt>
                <c:pt idx="615">
                  <c:v>-0.10496567892117425</c:v>
                </c:pt>
                <c:pt idx="616">
                  <c:v>-0.09881658780910862</c:v>
                </c:pt>
                <c:pt idx="617">
                  <c:v>-0.10603930009334794</c:v>
                </c:pt>
                <c:pt idx="618">
                  <c:v>-0.09764542132994214</c:v>
                </c:pt>
                <c:pt idx="619">
                  <c:v>-0.0931553789308196</c:v>
                </c:pt>
                <c:pt idx="620">
                  <c:v>-0.09256987354064339</c:v>
                </c:pt>
                <c:pt idx="621">
                  <c:v>-0.09256987354064339</c:v>
                </c:pt>
                <c:pt idx="622">
                  <c:v>-0.09256987354064339</c:v>
                </c:pt>
                <c:pt idx="623">
                  <c:v>-0.09120338289927099</c:v>
                </c:pt>
                <c:pt idx="624">
                  <c:v>-0.1026231124146203</c:v>
                </c:pt>
                <c:pt idx="625">
                  <c:v>-0.11091952372044056</c:v>
                </c:pt>
                <c:pt idx="626">
                  <c:v>-0.10730816757832085</c:v>
                </c:pt>
                <c:pt idx="627">
                  <c:v>-0.09559556859377294</c:v>
                </c:pt>
                <c:pt idx="628">
                  <c:v>-0.09559556859377294</c:v>
                </c:pt>
                <c:pt idx="629">
                  <c:v>-0.09559556859377294</c:v>
                </c:pt>
                <c:pt idx="630">
                  <c:v>-0.09559556859377294</c:v>
                </c:pt>
                <c:pt idx="631">
                  <c:v>-0.09930462574169918</c:v>
                </c:pt>
                <c:pt idx="632">
                  <c:v>-0.10574643062414923</c:v>
                </c:pt>
                <c:pt idx="633">
                  <c:v>-0.09510753066118216</c:v>
                </c:pt>
                <c:pt idx="634">
                  <c:v>-0.08163818195788464</c:v>
                </c:pt>
                <c:pt idx="635">
                  <c:v>-0.08163818195788464</c:v>
                </c:pt>
                <c:pt idx="636">
                  <c:v>-0.08163818195788464</c:v>
                </c:pt>
                <c:pt idx="637">
                  <c:v>-0.08407829377143095</c:v>
                </c:pt>
                <c:pt idx="638">
                  <c:v>-0.07968603022752196</c:v>
                </c:pt>
                <c:pt idx="639">
                  <c:v>-0.08458657254984603</c:v>
                </c:pt>
                <c:pt idx="640">
                  <c:v>-0.0779802718703686</c:v>
                </c:pt>
                <c:pt idx="641">
                  <c:v>-0.07669848138383073</c:v>
                </c:pt>
                <c:pt idx="642">
                  <c:v>-0.07669848138383073</c:v>
                </c:pt>
                <c:pt idx="643">
                  <c:v>-0.07669848138383073</c:v>
                </c:pt>
                <c:pt idx="644">
                  <c:v>-0.06999362335506953</c:v>
                </c:pt>
                <c:pt idx="645">
                  <c:v>-0.06279566718226148</c:v>
                </c:pt>
                <c:pt idx="646">
                  <c:v>-0.06052791395585122</c:v>
                </c:pt>
                <c:pt idx="647">
                  <c:v>-0.049878971419378915</c:v>
                </c:pt>
                <c:pt idx="648">
                  <c:v>-0.052639744940429</c:v>
                </c:pt>
                <c:pt idx="649">
                  <c:v>-0.052639744940429</c:v>
                </c:pt>
                <c:pt idx="650">
                  <c:v>-0.052639744940429</c:v>
                </c:pt>
                <c:pt idx="651">
                  <c:v>-0.052639744940429</c:v>
                </c:pt>
                <c:pt idx="652">
                  <c:v>-0.06131668414774927</c:v>
                </c:pt>
                <c:pt idx="653">
                  <c:v>-0.06457040011403203</c:v>
                </c:pt>
                <c:pt idx="654">
                  <c:v>-0.06437328541546461</c:v>
                </c:pt>
                <c:pt idx="655">
                  <c:v>-0.07403618736265738</c:v>
                </c:pt>
                <c:pt idx="656">
                  <c:v>-0.07403618736265738</c:v>
                </c:pt>
                <c:pt idx="657">
                  <c:v>-0.07403618736265738</c:v>
                </c:pt>
                <c:pt idx="658">
                  <c:v>-0.0756138055958604</c:v>
                </c:pt>
                <c:pt idx="659">
                  <c:v>-0.06585234629938397</c:v>
                </c:pt>
                <c:pt idx="660">
                  <c:v>-0.0659508257992607</c:v>
                </c:pt>
                <c:pt idx="661">
                  <c:v>-0.06437328541546472</c:v>
                </c:pt>
                <c:pt idx="662">
                  <c:v>-0.05402017062565778</c:v>
                </c:pt>
                <c:pt idx="663">
                  <c:v>-0.05402017062565778</c:v>
                </c:pt>
                <c:pt idx="664">
                  <c:v>-0.05402017062565778</c:v>
                </c:pt>
                <c:pt idx="665">
                  <c:v>-0.05175241739924763</c:v>
                </c:pt>
                <c:pt idx="666">
                  <c:v>-0.05175241739924763</c:v>
                </c:pt>
                <c:pt idx="667">
                  <c:v>-0.05638663690016599</c:v>
                </c:pt>
                <c:pt idx="668">
                  <c:v>-0.06802162002591783</c:v>
                </c:pt>
                <c:pt idx="669">
                  <c:v>-0.06614809619664253</c:v>
                </c:pt>
                <c:pt idx="670">
                  <c:v>-0.06614809619664253</c:v>
                </c:pt>
                <c:pt idx="671">
                  <c:v>-0.06614809619664253</c:v>
                </c:pt>
                <c:pt idx="672">
                  <c:v>-0.06378170777154157</c:v>
                </c:pt>
                <c:pt idx="673">
                  <c:v>-0.0563866369001661</c:v>
                </c:pt>
                <c:pt idx="674">
                  <c:v>-0.04504748152107951</c:v>
                </c:pt>
                <c:pt idx="675">
                  <c:v>-0.03420134643663275</c:v>
                </c:pt>
                <c:pt idx="676">
                  <c:v>-0.03686356260839907</c:v>
                </c:pt>
                <c:pt idx="677">
                  <c:v>-0.03686356260839907</c:v>
                </c:pt>
                <c:pt idx="678">
                  <c:v>-0.03686356260839907</c:v>
                </c:pt>
                <c:pt idx="679">
                  <c:v>-0.034398461135200176</c:v>
                </c:pt>
                <c:pt idx="680">
                  <c:v>-0.02897539359297685</c:v>
                </c:pt>
                <c:pt idx="681">
                  <c:v>-0.02779223830512978</c:v>
                </c:pt>
                <c:pt idx="682">
                  <c:v>-0.034299825936509376</c:v>
                </c:pt>
                <c:pt idx="683">
                  <c:v>-0.03380696134068373</c:v>
                </c:pt>
                <c:pt idx="684">
                  <c:v>-0.03380696134068373</c:v>
                </c:pt>
                <c:pt idx="685">
                  <c:v>-0.03380696134068373</c:v>
                </c:pt>
                <c:pt idx="686">
                  <c:v>-0.03035589712761244</c:v>
                </c:pt>
                <c:pt idx="687">
                  <c:v>-0.027200582811799268</c:v>
                </c:pt>
                <c:pt idx="688">
                  <c:v>-0.02591887017466843</c:v>
                </c:pt>
                <c:pt idx="689">
                  <c:v>-0.03203207271009911</c:v>
                </c:pt>
                <c:pt idx="690">
                  <c:v>-0.021876228317673663</c:v>
                </c:pt>
                <c:pt idx="691">
                  <c:v>-0.021876228317673663</c:v>
                </c:pt>
                <c:pt idx="692">
                  <c:v>-0.021876228317673663</c:v>
                </c:pt>
                <c:pt idx="693">
                  <c:v>-0.02000278233780539</c:v>
                </c:pt>
                <c:pt idx="694">
                  <c:v>-0.026806353414664308</c:v>
                </c:pt>
                <c:pt idx="695">
                  <c:v>-0.04287828564395291</c:v>
                </c:pt>
                <c:pt idx="696">
                  <c:v>-0.0451461167197702</c:v>
                </c:pt>
                <c:pt idx="697">
                  <c:v>-0.04711804219951521</c:v>
                </c:pt>
                <c:pt idx="698">
                  <c:v>-0.04711804219951521</c:v>
                </c:pt>
                <c:pt idx="699">
                  <c:v>-0.04711804219951521</c:v>
                </c:pt>
                <c:pt idx="700">
                  <c:v>-0.04070901191741927</c:v>
                </c:pt>
                <c:pt idx="701">
                  <c:v>-0.04623055895951944</c:v>
                </c:pt>
                <c:pt idx="702">
                  <c:v>-0.05027335651532827</c:v>
                </c:pt>
                <c:pt idx="703">
                  <c:v>-0.048794295631409024</c:v>
                </c:pt>
                <c:pt idx="704">
                  <c:v>-0.05234399504317111</c:v>
                </c:pt>
                <c:pt idx="705">
                  <c:v>-0.05234399504317111</c:v>
                </c:pt>
                <c:pt idx="706">
                  <c:v>-0.05234399504317111</c:v>
                </c:pt>
                <c:pt idx="707">
                  <c:v>-0.050470471213895696</c:v>
                </c:pt>
                <c:pt idx="708">
                  <c:v>-0.06210545433964754</c:v>
                </c:pt>
                <c:pt idx="709">
                  <c:v>-0.06930333266304844</c:v>
                </c:pt>
                <c:pt idx="710">
                  <c:v>-0.07541669089729308</c:v>
                </c:pt>
                <c:pt idx="711">
                  <c:v>-0.07581099814383507</c:v>
                </c:pt>
                <c:pt idx="712">
                  <c:v>-0.07581099814383507</c:v>
                </c:pt>
                <c:pt idx="713">
                  <c:v>-0.07581099814383507</c:v>
                </c:pt>
                <c:pt idx="714">
                  <c:v>-0.07097950824553512</c:v>
                </c:pt>
                <c:pt idx="715">
                  <c:v>-0.07305022462278499</c:v>
                </c:pt>
                <c:pt idx="716">
                  <c:v>-0.06210545433964754</c:v>
                </c:pt>
                <c:pt idx="717">
                  <c:v>-0.0740361873626576</c:v>
                </c:pt>
                <c:pt idx="718">
                  <c:v>-0.0684159272724596</c:v>
                </c:pt>
                <c:pt idx="719">
                  <c:v>-0.0684159272724596</c:v>
                </c:pt>
                <c:pt idx="720">
                  <c:v>-0.0684159272724596</c:v>
                </c:pt>
                <c:pt idx="721">
                  <c:v>-0.06121812679846572</c:v>
                </c:pt>
                <c:pt idx="722">
                  <c:v>-0.047906890240820066</c:v>
                </c:pt>
                <c:pt idx="723">
                  <c:v>-0.04554042396631208</c:v>
                </c:pt>
                <c:pt idx="724">
                  <c:v>-0.04849846788474366</c:v>
                </c:pt>
                <c:pt idx="725">
                  <c:v>-0.0458364074117914</c:v>
                </c:pt>
                <c:pt idx="726">
                  <c:v>-0.0458364074117914</c:v>
                </c:pt>
                <c:pt idx="727">
                  <c:v>-0.0458364074117914</c:v>
                </c:pt>
                <c:pt idx="728">
                  <c:v>-0.0458364074117914</c:v>
                </c:pt>
                <c:pt idx="729">
                  <c:v>-0.05135795445389146</c:v>
                </c:pt>
                <c:pt idx="730">
                  <c:v>-0.05687957934539856</c:v>
                </c:pt>
                <c:pt idx="731">
                  <c:v>-0.060429278757160754</c:v>
                </c:pt>
                <c:pt idx="732">
                  <c:v>-0.06003481581180481</c:v>
                </c:pt>
                <c:pt idx="733">
                  <c:v>-0.06003481581180481</c:v>
                </c:pt>
                <c:pt idx="734">
                  <c:v>-0.06003481581180481</c:v>
                </c:pt>
                <c:pt idx="735">
                  <c:v>-0.051949532097815165</c:v>
                </c:pt>
                <c:pt idx="736">
                  <c:v>-0.05648511640004272</c:v>
                </c:pt>
                <c:pt idx="737">
                  <c:v>-0.0561893665027845</c:v>
                </c:pt>
                <c:pt idx="738">
                  <c:v>-0.047512505144871264</c:v>
                </c:pt>
                <c:pt idx="739">
                  <c:v>-0.055203403762911996</c:v>
                </c:pt>
                <c:pt idx="740">
                  <c:v>-0.055203403762911996</c:v>
                </c:pt>
                <c:pt idx="741">
                  <c:v>-0.055203403762911996</c:v>
                </c:pt>
                <c:pt idx="742">
                  <c:v>-0.0561893665027845</c:v>
                </c:pt>
                <c:pt idx="743">
                  <c:v>-0.05826000503062734</c:v>
                </c:pt>
                <c:pt idx="744">
                  <c:v>-0.06437328541546494</c:v>
                </c:pt>
                <c:pt idx="745">
                  <c:v>-0.0798537178502371</c:v>
                </c:pt>
                <c:pt idx="746">
                  <c:v>-0.08044521764475354</c:v>
                </c:pt>
                <c:pt idx="747">
                  <c:v>-0.08044521764475354</c:v>
                </c:pt>
                <c:pt idx="748">
                  <c:v>-0.08044521764475354</c:v>
                </c:pt>
                <c:pt idx="749">
                  <c:v>-0.07926206235690647</c:v>
                </c:pt>
                <c:pt idx="750">
                  <c:v>-0.09267193411324282</c:v>
                </c:pt>
                <c:pt idx="751">
                  <c:v>-0.09227739331847973</c:v>
                </c:pt>
                <c:pt idx="752">
                  <c:v>-0.08665713322828184</c:v>
                </c:pt>
                <c:pt idx="753">
                  <c:v>-0.08922071420135747</c:v>
                </c:pt>
                <c:pt idx="754">
                  <c:v>-0.08922071420135747</c:v>
                </c:pt>
                <c:pt idx="755">
                  <c:v>-0.08922071420135747</c:v>
                </c:pt>
                <c:pt idx="756">
                  <c:v>-0.09326343390775937</c:v>
                </c:pt>
                <c:pt idx="757">
                  <c:v>-0.1053913594787439</c:v>
                </c:pt>
                <c:pt idx="758">
                  <c:v>-0.10154598801913062</c:v>
                </c:pt>
                <c:pt idx="759">
                  <c:v>-0.09927815694331321</c:v>
                </c:pt>
                <c:pt idx="760">
                  <c:v>-0.08813611626279405</c:v>
                </c:pt>
                <c:pt idx="761">
                  <c:v>-0.08813611626279405</c:v>
                </c:pt>
                <c:pt idx="762">
                  <c:v>-0.08813611626279405</c:v>
                </c:pt>
                <c:pt idx="763">
                  <c:v>-0.08488232244710414</c:v>
                </c:pt>
                <c:pt idx="764">
                  <c:v>-0.07719150167847033</c:v>
                </c:pt>
                <c:pt idx="765">
                  <c:v>-0.072951667273501</c:v>
                </c:pt>
                <c:pt idx="766">
                  <c:v>-0.08005083254880418</c:v>
                </c:pt>
                <c:pt idx="767">
                  <c:v>-0.08527678539246009</c:v>
                </c:pt>
                <c:pt idx="768">
                  <c:v>-0.08527678539246009</c:v>
                </c:pt>
                <c:pt idx="769">
                  <c:v>-0.08527678539246009</c:v>
                </c:pt>
                <c:pt idx="770">
                  <c:v>-0.07689551823299101</c:v>
                </c:pt>
                <c:pt idx="771">
                  <c:v>-0.07650121098644913</c:v>
                </c:pt>
                <c:pt idx="772">
                  <c:v>-0.08971381234540399</c:v>
                </c:pt>
                <c:pt idx="773">
                  <c:v>-0.09789773125808454</c:v>
                </c:pt>
                <c:pt idx="774">
                  <c:v>-0.10864515329443347</c:v>
                </c:pt>
                <c:pt idx="775">
                  <c:v>-0.10864515329443347</c:v>
                </c:pt>
                <c:pt idx="776">
                  <c:v>-0.10864515329443347</c:v>
                </c:pt>
                <c:pt idx="777">
                  <c:v>-0.10933544398645478</c:v>
                </c:pt>
                <c:pt idx="778">
                  <c:v>-0.10282785635507508</c:v>
                </c:pt>
                <c:pt idx="779">
                  <c:v>-0.1142654912340384</c:v>
                </c:pt>
                <c:pt idx="780">
                  <c:v>-0.12333681553730769</c:v>
                </c:pt>
                <c:pt idx="781">
                  <c:v>-0.12649205200371383</c:v>
                </c:pt>
                <c:pt idx="782">
                  <c:v>-0.12649205200371383</c:v>
                </c:pt>
                <c:pt idx="783">
                  <c:v>-0.12649205200371383</c:v>
                </c:pt>
                <c:pt idx="784">
                  <c:v>-0.11633612976188135</c:v>
                </c:pt>
                <c:pt idx="785">
                  <c:v>-0.11239212310357727</c:v>
                </c:pt>
                <c:pt idx="786">
                  <c:v>-0.10351799134828266</c:v>
                </c:pt>
                <c:pt idx="787">
                  <c:v>-0.0857697278376931</c:v>
                </c:pt>
                <c:pt idx="788">
                  <c:v>-0.07521949834931863</c:v>
                </c:pt>
                <c:pt idx="789">
                  <c:v>-0.07521949834931863</c:v>
                </c:pt>
                <c:pt idx="790">
                  <c:v>-0.07521949834931863</c:v>
                </c:pt>
                <c:pt idx="791">
                  <c:v>-0.07443065030801355</c:v>
                </c:pt>
                <c:pt idx="792">
                  <c:v>-0.07492367060265326</c:v>
                </c:pt>
                <c:pt idx="793">
                  <c:v>-0.0751207853012208</c:v>
                </c:pt>
                <c:pt idx="794">
                  <c:v>-0.08064248804213503</c:v>
                </c:pt>
                <c:pt idx="795">
                  <c:v>-0.07009225855376056</c:v>
                </c:pt>
                <c:pt idx="796">
                  <c:v>-0.07009225855376056</c:v>
                </c:pt>
                <c:pt idx="797">
                  <c:v>-0.07009225855376056</c:v>
                </c:pt>
                <c:pt idx="798">
                  <c:v>-0.06989491030697204</c:v>
                </c:pt>
                <c:pt idx="799">
                  <c:v>-0.04958322152212091</c:v>
                </c:pt>
                <c:pt idx="800">
                  <c:v>-0.04761114034356184</c:v>
                </c:pt>
                <c:pt idx="801">
                  <c:v>-0.04830127533676909</c:v>
                </c:pt>
                <c:pt idx="802">
                  <c:v>-0.044061440931799756</c:v>
                </c:pt>
                <c:pt idx="803">
                  <c:v>-0.044061440931799756</c:v>
                </c:pt>
                <c:pt idx="804">
                  <c:v>-0.044061440931799756</c:v>
                </c:pt>
                <c:pt idx="805">
                  <c:v>-0.03735658290303867</c:v>
                </c:pt>
                <c:pt idx="806">
                  <c:v>-0.03992024172552122</c:v>
                </c:pt>
                <c:pt idx="807">
                  <c:v>-0.03725802555375479</c:v>
                </c:pt>
                <c:pt idx="808">
                  <c:v>-0.03725802555375479</c:v>
                </c:pt>
                <c:pt idx="809">
                  <c:v>-0.0348915592792467</c:v>
                </c:pt>
                <c:pt idx="810">
                  <c:v>-0.0348915592792467</c:v>
                </c:pt>
                <c:pt idx="811">
                  <c:v>-0.0348915592792467</c:v>
                </c:pt>
                <c:pt idx="812">
                  <c:v>-0.03745514025232233</c:v>
                </c:pt>
                <c:pt idx="813">
                  <c:v>-0.035877599868526344</c:v>
                </c:pt>
                <c:pt idx="814">
                  <c:v>-0.03597615721781011</c:v>
                </c:pt>
                <c:pt idx="815">
                  <c:v>-0.03351113359401836</c:v>
                </c:pt>
                <c:pt idx="816">
                  <c:v>-0.02631317742121042</c:v>
                </c:pt>
                <c:pt idx="817">
                  <c:v>-0.02631317742121042</c:v>
                </c:pt>
                <c:pt idx="818">
                  <c:v>-0.02631317742121042</c:v>
                </c:pt>
                <c:pt idx="819">
                  <c:v>-0.0323279783061714</c:v>
                </c:pt>
                <c:pt idx="820">
                  <c:v>-0.03420134643663264</c:v>
                </c:pt>
                <c:pt idx="821">
                  <c:v>-0.03607479241650091</c:v>
                </c:pt>
                <c:pt idx="822">
                  <c:v>-0.029862876832972507</c:v>
                </c:pt>
                <c:pt idx="823">
                  <c:v>-0.026707640366566365</c:v>
                </c:pt>
                <c:pt idx="824">
                  <c:v>-0.026707640366566365</c:v>
                </c:pt>
                <c:pt idx="825">
                  <c:v>-0.026707640366566365</c:v>
                </c:pt>
                <c:pt idx="826">
                  <c:v>-0.02325665400290211</c:v>
                </c:pt>
                <c:pt idx="827">
                  <c:v>-0.02010141753649608</c:v>
                </c:pt>
                <c:pt idx="828">
                  <c:v>-0.006592988430875968</c:v>
                </c:pt>
                <c:pt idx="829">
                  <c:v>-0.00018395814878013894</c:v>
                </c:pt>
                <c:pt idx="830">
                  <c:v>-0.004423792553749473</c:v>
                </c:pt>
                <c:pt idx="831">
                  <c:v>-0.004423792553749473</c:v>
                </c:pt>
                <c:pt idx="832">
                  <c:v>-0.004423792553749473</c:v>
                </c:pt>
                <c:pt idx="833">
                  <c:v>1.3312248601460297e-05</c:v>
                </c:pt>
                <c:pt idx="834">
                  <c:v>0.007211190572002479</c:v>
                </c:pt>
                <c:pt idx="835">
                  <c:v>-0.006803882474485379</c:v>
                </c:pt>
                <c:pt idx="836">
                  <c:v>0.005638476851441698</c:v>
                </c:pt>
                <c:pt idx="837">
                  <c:v>0.007131550628624028</c:v>
                </c:pt>
                <c:pt idx="838">
                  <c:v>0.007131550628624028</c:v>
                </c:pt>
                <c:pt idx="839">
                  <c:v>0.007131550628624028</c:v>
                </c:pt>
                <c:pt idx="840">
                  <c:v>0.007131550628624028</c:v>
                </c:pt>
                <c:pt idx="841">
                  <c:v>0.01200897167706394</c:v>
                </c:pt>
                <c:pt idx="842">
                  <c:v>0.014895471990446607</c:v>
                </c:pt>
                <c:pt idx="843">
                  <c:v>0.014895471990446607</c:v>
                </c:pt>
                <c:pt idx="844">
                  <c:v>0.013004276345778276</c:v>
                </c:pt>
                <c:pt idx="845">
                  <c:v>0.013004276345778276</c:v>
                </c:pt>
                <c:pt idx="846">
                  <c:v>0.013004276345778276</c:v>
                </c:pt>
                <c:pt idx="847">
                  <c:v>0.013004276345778276</c:v>
                </c:pt>
                <c:pt idx="848">
                  <c:v>0.004344464008001925</c:v>
                </c:pt>
                <c:pt idx="849">
                  <c:v>-0.0036186739863778294</c:v>
                </c:pt>
                <c:pt idx="850">
                  <c:v>-0.0047135480466674595</c:v>
                </c:pt>
                <c:pt idx="851">
                  <c:v>-0.003817657070713798</c:v>
                </c:pt>
                <c:pt idx="852">
                  <c:v>-0.003817657070713798</c:v>
                </c:pt>
                <c:pt idx="853">
                  <c:v>-0.003817657070713798</c:v>
                </c:pt>
                <c:pt idx="854">
                  <c:v>0.008126933146745285</c:v>
                </c:pt>
                <c:pt idx="855">
                  <c:v>0.003548220273030145</c:v>
                </c:pt>
                <c:pt idx="856">
                  <c:v>0.008226502538320135</c:v>
                </c:pt>
                <c:pt idx="857">
                  <c:v>0.0077287334298523636</c:v>
                </c:pt>
                <c:pt idx="858">
                  <c:v>0.009819067857670616</c:v>
                </c:pt>
                <c:pt idx="859">
                  <c:v>0.009819067857670616</c:v>
                </c:pt>
                <c:pt idx="860">
                  <c:v>0.009819067857670616</c:v>
                </c:pt>
                <c:pt idx="861">
                  <c:v>0.009819067857670616</c:v>
                </c:pt>
                <c:pt idx="862">
                  <c:v>0.000960194586151264</c:v>
                </c:pt>
                <c:pt idx="863">
                  <c:v>-0.00670431308291064</c:v>
                </c:pt>
                <c:pt idx="864">
                  <c:v>0.0019555771042727432</c:v>
                </c:pt>
                <c:pt idx="865">
                  <c:v>0.012008971677063496</c:v>
                </c:pt>
                <c:pt idx="866">
                  <c:v>0.012008971677063496</c:v>
                </c:pt>
                <c:pt idx="867">
                  <c:v>0.012008971677063496</c:v>
                </c:pt>
                <c:pt idx="868">
                  <c:v>0.013601614845820897</c:v>
                </c:pt>
                <c:pt idx="869">
                  <c:v>0.015691871424232007</c:v>
                </c:pt>
                <c:pt idx="870">
                  <c:v>0.019076140846082668</c:v>
                </c:pt>
                <c:pt idx="871">
                  <c:v>0.02315731815955102</c:v>
                </c:pt>
                <c:pt idx="872">
                  <c:v>0.02405305343669073</c:v>
                </c:pt>
                <c:pt idx="873">
                  <c:v>0.02405305343669073</c:v>
                </c:pt>
                <c:pt idx="874">
                  <c:v>0.02405305343669073</c:v>
                </c:pt>
                <c:pt idx="875">
                  <c:v>0.030821670129798973</c:v>
                </c:pt>
                <c:pt idx="876">
                  <c:v>0.029129613268280785</c:v>
                </c:pt>
                <c:pt idx="877">
                  <c:v>0.01579136296640038</c:v>
                </c:pt>
                <c:pt idx="878">
                  <c:v>0.028432783226070235</c:v>
                </c:pt>
                <c:pt idx="879">
                  <c:v>0.03261345208170674</c:v>
                </c:pt>
                <c:pt idx="880">
                  <c:v>0.03261345208170674</c:v>
                </c:pt>
                <c:pt idx="881">
                  <c:v>0.03261345208170674</c:v>
                </c:pt>
                <c:pt idx="882">
                  <c:v>0.02863192200922038</c:v>
                </c:pt>
                <c:pt idx="883">
                  <c:v>0.03460421711794992</c:v>
                </c:pt>
                <c:pt idx="884">
                  <c:v>0.03987976003387583</c:v>
                </c:pt>
                <c:pt idx="885">
                  <c:v>0.03968062125072591</c:v>
                </c:pt>
                <c:pt idx="886">
                  <c:v>0.045254794491969674</c:v>
                </c:pt>
                <c:pt idx="887">
                  <c:v>0.045254794491969674</c:v>
                </c:pt>
                <c:pt idx="888">
                  <c:v>0.045254794491969674</c:v>
                </c:pt>
                <c:pt idx="889">
                  <c:v>0.04654888518481615</c:v>
                </c:pt>
                <c:pt idx="890">
                  <c:v>0.02992585700325301</c:v>
                </c:pt>
                <c:pt idx="891">
                  <c:v>0.04127326441948331</c:v>
                </c:pt>
                <c:pt idx="892">
                  <c:v>0.049634446431941814</c:v>
                </c:pt>
                <c:pt idx="893">
                  <c:v>0.047046576443877</c:v>
                </c:pt>
                <c:pt idx="894">
                  <c:v>0.047046576443877</c:v>
                </c:pt>
                <c:pt idx="895">
                  <c:v>0.047046576443877</c:v>
                </c:pt>
                <c:pt idx="896">
                  <c:v>0.047046576443877</c:v>
                </c:pt>
                <c:pt idx="897">
                  <c:v>0.044060351040105195</c:v>
                </c:pt>
                <c:pt idx="898">
                  <c:v>0.044358981365423045</c:v>
                </c:pt>
                <c:pt idx="899">
                  <c:v>0.06237551393259366</c:v>
                </c:pt>
                <c:pt idx="900">
                  <c:v>0.06277355795067252</c:v>
                </c:pt>
                <c:pt idx="901">
                  <c:v>0.06277355795067252</c:v>
                </c:pt>
                <c:pt idx="902">
                  <c:v>0.06277355795067252</c:v>
                </c:pt>
                <c:pt idx="903">
                  <c:v>0.05988705763728963</c:v>
                </c:pt>
                <c:pt idx="904">
                  <c:v>0.06197731421570074</c:v>
                </c:pt>
                <c:pt idx="905">
                  <c:v>0.05749809288415353</c:v>
                </c:pt>
                <c:pt idx="906">
                  <c:v>0.06157919234821496</c:v>
                </c:pt>
                <c:pt idx="907">
                  <c:v>0.07183164785474871</c:v>
                </c:pt>
                <c:pt idx="908">
                  <c:v>0.07183164785474871</c:v>
                </c:pt>
                <c:pt idx="909">
                  <c:v>0.07183164785474871</c:v>
                </c:pt>
                <c:pt idx="910">
                  <c:v>0.07023900468599131</c:v>
                </c:pt>
                <c:pt idx="911">
                  <c:v>0.06157919234821496</c:v>
                </c:pt>
                <c:pt idx="912">
                  <c:v>0.06984088281850553</c:v>
                </c:pt>
                <c:pt idx="913">
                  <c:v>0.08098915145158592</c:v>
                </c:pt>
                <c:pt idx="914">
                  <c:v>0.07571360853566</c:v>
                </c:pt>
                <c:pt idx="915">
                  <c:v>0.07571360853566</c:v>
                </c:pt>
                <c:pt idx="916">
                  <c:v>0.07571360853566</c:v>
                </c:pt>
                <c:pt idx="917">
                  <c:v>0.07352378256567382</c:v>
                </c:pt>
                <c:pt idx="918">
                  <c:v>0.08437357657225042</c:v>
                </c:pt>
                <c:pt idx="919">
                  <c:v>0.08297999433723602</c:v>
                </c:pt>
                <c:pt idx="920">
                  <c:v>0.07869983393943181</c:v>
                </c:pt>
                <c:pt idx="921">
                  <c:v>0.07322523008976312</c:v>
                </c:pt>
                <c:pt idx="922">
                  <c:v>0.07322523008976312</c:v>
                </c:pt>
                <c:pt idx="923">
                  <c:v>0.07322523008976312</c:v>
                </c:pt>
                <c:pt idx="924">
                  <c:v>0.07760488202973526</c:v>
                </c:pt>
                <c:pt idx="925">
                  <c:v>0.08138735116847862</c:v>
                </c:pt>
                <c:pt idx="926">
                  <c:v>0.09233663671722292</c:v>
                </c:pt>
                <c:pt idx="927">
                  <c:v>0.0947255236209521</c:v>
                </c:pt>
                <c:pt idx="928">
                  <c:v>0.09213749793407322</c:v>
                </c:pt>
                <c:pt idx="929">
                  <c:v>0.09213749793407322</c:v>
                </c:pt>
                <c:pt idx="930">
                  <c:v>0.09213749793407322</c:v>
                </c:pt>
                <c:pt idx="931">
                  <c:v>0.08994767196408704</c:v>
                </c:pt>
                <c:pt idx="932">
                  <c:v>0.08845459818690471</c:v>
                </c:pt>
                <c:pt idx="933">
                  <c:v>0.09641765833187743</c:v>
                </c:pt>
                <c:pt idx="934">
                  <c:v>0.09621851954872751</c:v>
                </c:pt>
                <c:pt idx="935">
                  <c:v>0.09621851954872751</c:v>
                </c:pt>
                <c:pt idx="936">
                  <c:v>0.09621851954872751</c:v>
                </c:pt>
                <c:pt idx="937">
                  <c:v>0.09621851954872751</c:v>
                </c:pt>
                <c:pt idx="938">
                  <c:v>0.09363057171125555</c:v>
                </c:pt>
                <c:pt idx="939">
                  <c:v>0.08716058534346516</c:v>
                </c:pt>
                <c:pt idx="940">
                  <c:v>0.08974861103034404</c:v>
                </c:pt>
                <c:pt idx="941">
                  <c:v>0.07879932548159951</c:v>
                </c:pt>
                <c:pt idx="942">
                  <c:v>0.08726015473504001</c:v>
                </c:pt>
                <c:pt idx="943">
                  <c:v>0.08726015473504001</c:v>
                </c:pt>
                <c:pt idx="944">
                  <c:v>0.08726015473504001</c:v>
                </c:pt>
                <c:pt idx="945">
                  <c:v>0.08954947224719412</c:v>
                </c:pt>
                <c:pt idx="946">
                  <c:v>0.09114219326535844</c:v>
                </c:pt>
                <c:pt idx="947">
                  <c:v>0.07869983393943158</c:v>
                </c:pt>
                <c:pt idx="948">
                  <c:v>0.08507032876505383</c:v>
                </c:pt>
                <c:pt idx="949">
                  <c:v>0.06834780904132254</c:v>
                </c:pt>
                <c:pt idx="950">
                  <c:v>0.06834780904132254</c:v>
                </c:pt>
                <c:pt idx="951">
                  <c:v>0.06834780904132254</c:v>
                </c:pt>
                <c:pt idx="952">
                  <c:v>0.05799578414321371</c:v>
                </c:pt>
                <c:pt idx="953">
                  <c:v>0.05242161090196995</c:v>
                </c:pt>
                <c:pt idx="954">
                  <c:v>0.04853957237165152</c:v>
                </c:pt>
                <c:pt idx="955">
                  <c:v>0.04704657644387611</c:v>
                </c:pt>
                <c:pt idx="956">
                  <c:v>0.04057659007608572</c:v>
                </c:pt>
                <c:pt idx="957">
                  <c:v>0.04057659007608572</c:v>
                </c:pt>
                <c:pt idx="958">
                  <c:v>0.04057659007608572</c:v>
                </c:pt>
                <c:pt idx="959">
                  <c:v>0.0511275980585304</c:v>
                </c:pt>
                <c:pt idx="960">
                  <c:v>0.0628732051916534</c:v>
                </c:pt>
                <c:pt idx="961">
                  <c:v>0.062276022390424624</c:v>
                </c:pt>
                <c:pt idx="962">
                  <c:v>0.05899124451074189</c:v>
                </c:pt>
                <c:pt idx="963">
                  <c:v>0.06884550030038294</c:v>
                </c:pt>
                <c:pt idx="964">
                  <c:v>0.06884550030038294</c:v>
                </c:pt>
                <c:pt idx="965">
                  <c:v>0.06884550030038294</c:v>
                </c:pt>
                <c:pt idx="966">
                  <c:v>0.07352378256567293</c:v>
                </c:pt>
                <c:pt idx="967">
                  <c:v>0.05729903195040964</c:v>
                </c:pt>
                <c:pt idx="968">
                  <c:v>0.05451194532978776</c:v>
                </c:pt>
                <c:pt idx="969">
                  <c:v>0.06765105684851846</c:v>
                </c:pt>
                <c:pt idx="970">
                  <c:v>0.0792970167406597</c:v>
                </c:pt>
                <c:pt idx="971">
                  <c:v>0.0792970167406597</c:v>
                </c:pt>
                <c:pt idx="972">
                  <c:v>0.0792970167406597</c:v>
                </c:pt>
                <c:pt idx="973">
                  <c:v>0.08905185883753974</c:v>
                </c:pt>
                <c:pt idx="974">
                  <c:v>0.08935041131345067</c:v>
                </c:pt>
                <c:pt idx="975">
                  <c:v>0.08875315066281497</c:v>
                </c:pt>
                <c:pt idx="976">
                  <c:v>0.09532270642218021</c:v>
                </c:pt>
                <c:pt idx="977">
                  <c:v>0.09671628865719462</c:v>
                </c:pt>
                <c:pt idx="978">
                  <c:v>0.09671628865719462</c:v>
                </c:pt>
                <c:pt idx="979">
                  <c:v>0.09671628865719462</c:v>
                </c:pt>
                <c:pt idx="980">
                  <c:v>0.09741304084999847</c:v>
                </c:pt>
                <c:pt idx="981">
                  <c:v>0.10348490535030308</c:v>
                </c:pt>
                <c:pt idx="982">
                  <c:v>0.11612624776056579</c:v>
                </c:pt>
                <c:pt idx="983">
                  <c:v>0.11383693024841168</c:v>
                </c:pt>
                <c:pt idx="984">
                  <c:v>0.11642495593529056</c:v>
                </c:pt>
                <c:pt idx="985">
                  <c:v>0.11642495593529056</c:v>
                </c:pt>
                <c:pt idx="986">
                  <c:v>0.11642495593529056</c:v>
                </c:pt>
                <c:pt idx="987">
                  <c:v>0.11712170812809419</c:v>
                </c:pt>
                <c:pt idx="988">
                  <c:v>0.1173207690618372</c:v>
                </c:pt>
                <c:pt idx="989">
                  <c:v>0.11204522614591128</c:v>
                </c:pt>
                <c:pt idx="990">
                  <c:v>0.10467942665157426</c:v>
                </c:pt>
                <c:pt idx="991">
                  <c:v>0.11184616521216828</c:v>
                </c:pt>
                <c:pt idx="992">
                  <c:v>0.11184616521216828</c:v>
                </c:pt>
                <c:pt idx="993">
                  <c:v>0.11184616521216828</c:v>
                </c:pt>
                <c:pt idx="994">
                  <c:v>0.11184616521216828</c:v>
                </c:pt>
                <c:pt idx="995">
                  <c:v>0.11214471768807921</c:v>
                </c:pt>
                <c:pt idx="996">
                  <c:v>0.10089687966342376</c:v>
                </c:pt>
                <c:pt idx="997">
                  <c:v>0.09810987089220902</c:v>
                </c:pt>
                <c:pt idx="998">
                  <c:v>0.10567473132028882</c:v>
                </c:pt>
                <c:pt idx="999">
                  <c:v>0.10567473132028882</c:v>
                </c:pt>
                <c:pt idx="1000">
                  <c:v>0.10567473132028882</c:v>
                </c:pt>
                <c:pt idx="1001">
                  <c:v>0.10786463513968192</c:v>
                </c:pt>
                <c:pt idx="1002">
                  <c:v>0.10637156136249959</c:v>
                </c:pt>
                <c:pt idx="1003">
                  <c:v>0.11911247316433737</c:v>
                </c:pt>
                <c:pt idx="1004">
                  <c:v>0.12020742507403392</c:v>
                </c:pt>
                <c:pt idx="1005">
                  <c:v>0.1146333296821973</c:v>
                </c:pt>
                <c:pt idx="1006">
                  <c:v>0.1146333296821973</c:v>
                </c:pt>
                <c:pt idx="1007">
                  <c:v>0.1146333296821973</c:v>
                </c:pt>
                <c:pt idx="1008">
                  <c:v>0.1179180297124729</c:v>
                </c:pt>
                <c:pt idx="1009">
                  <c:v>0.1156596184149048</c:v>
                </c:pt>
                <c:pt idx="1010">
                  <c:v>0.12639964475758725</c:v>
                </c:pt>
                <c:pt idx="1011">
                  <c:v>0.12288653456712328</c:v>
                </c:pt>
                <c:pt idx="1012">
                  <c:v>0.12077868402272629</c:v>
                </c:pt>
                <c:pt idx="1013">
                  <c:v>0.12077868402272629</c:v>
                </c:pt>
                <c:pt idx="1014">
                  <c:v>0.12077868402272629</c:v>
                </c:pt>
                <c:pt idx="1015">
                  <c:v>0.1279052522892994</c:v>
                </c:pt>
                <c:pt idx="1016">
                  <c:v>0.13252250061948811</c:v>
                </c:pt>
                <c:pt idx="1017">
                  <c:v>0.13252250061948811</c:v>
                </c:pt>
                <c:pt idx="1018">
                  <c:v>0.13021379860498672</c:v>
                </c:pt>
                <c:pt idx="1019">
                  <c:v>0.12569705385925745</c:v>
                </c:pt>
                <c:pt idx="1020">
                  <c:v>0.12569705385925745</c:v>
                </c:pt>
                <c:pt idx="1021">
                  <c:v>0.12569705385925745</c:v>
                </c:pt>
                <c:pt idx="1022">
                  <c:v>0.12670068841452276</c:v>
                </c:pt>
                <c:pt idx="1023">
                  <c:v>0.13011345071934177</c:v>
                </c:pt>
                <c:pt idx="1024">
                  <c:v>0.12880853895891975</c:v>
                </c:pt>
                <c:pt idx="1025">
                  <c:v>0.13041465007509112</c:v>
                </c:pt>
                <c:pt idx="1026">
                  <c:v>0.12820637379564181</c:v>
                </c:pt>
                <c:pt idx="1027">
                  <c:v>0.12820637379564181</c:v>
                </c:pt>
                <c:pt idx="1028">
                  <c:v>0.12820637379564181</c:v>
                </c:pt>
                <c:pt idx="1029">
                  <c:v>0.13011345071934155</c:v>
                </c:pt>
                <c:pt idx="1030">
                  <c:v>0.13613588084619033</c:v>
                </c:pt>
                <c:pt idx="1031">
                  <c:v>0.1443666651018951</c:v>
                </c:pt>
                <c:pt idx="1032">
                  <c:v>0.1443666651018951</c:v>
                </c:pt>
                <c:pt idx="1033">
                  <c:v>0.15089099035578335</c:v>
                </c:pt>
                <c:pt idx="1034">
                  <c:v>0.15089099035578335</c:v>
                </c:pt>
                <c:pt idx="1035">
                  <c:v>0.15089099035578335</c:v>
                </c:pt>
                <c:pt idx="1036">
                  <c:v>0.15089099035578335</c:v>
                </c:pt>
                <c:pt idx="1037">
                  <c:v>0.15058971315062686</c:v>
                </c:pt>
                <c:pt idx="1038">
                  <c:v>0.1623336075967956</c:v>
                </c:pt>
                <c:pt idx="1039">
                  <c:v>0.15781670715225204</c:v>
                </c:pt>
                <c:pt idx="1040">
                  <c:v>0.16624818717924716</c:v>
                </c:pt>
                <c:pt idx="1041">
                  <c:v>0.16624818717924716</c:v>
                </c:pt>
                <c:pt idx="1042">
                  <c:v>0.16624818717924716</c:v>
                </c:pt>
                <c:pt idx="1043">
                  <c:v>0.1650436233044703</c:v>
                </c:pt>
                <c:pt idx="1044">
                  <c:v>0.17126690490142327</c:v>
                </c:pt>
                <c:pt idx="1045">
                  <c:v>0.15651187324123716</c:v>
                </c:pt>
                <c:pt idx="1046">
                  <c:v>0.14667521141758222</c:v>
                </c:pt>
                <c:pt idx="1047">
                  <c:v>0.1391471737590213</c:v>
                </c:pt>
                <c:pt idx="1048">
                  <c:v>0.1391471737590213</c:v>
                </c:pt>
                <c:pt idx="1049">
                  <c:v>0.1391471737590213</c:v>
                </c:pt>
                <c:pt idx="1050">
                  <c:v>0.15089099035578313</c:v>
                </c:pt>
                <c:pt idx="1051">
                  <c:v>0.14697633292392442</c:v>
                </c:pt>
                <c:pt idx="1052">
                  <c:v>0.12439206424942806</c:v>
                </c:pt>
                <c:pt idx="1053">
                  <c:v>0.11867075562892193</c:v>
                </c:pt>
                <c:pt idx="1054">
                  <c:v>0.1319201797573959</c:v>
                </c:pt>
                <c:pt idx="1055">
                  <c:v>0.1319201797573959</c:v>
                </c:pt>
                <c:pt idx="1056">
                  <c:v>0.1319201797573959</c:v>
                </c:pt>
                <c:pt idx="1057">
                  <c:v>0.1309163895033163</c:v>
                </c:pt>
                <c:pt idx="1058">
                  <c:v>0.12710231350532397</c:v>
                </c:pt>
                <c:pt idx="1059">
                  <c:v>0.14557107327785723</c:v>
                </c:pt>
                <c:pt idx="1060">
                  <c:v>0.1251951587322171</c:v>
                </c:pt>
                <c:pt idx="1061">
                  <c:v>0.10542133150044775</c:v>
                </c:pt>
                <c:pt idx="1062">
                  <c:v>0.10542133150044775</c:v>
                </c:pt>
                <c:pt idx="1063">
                  <c:v>0.10542133150044775</c:v>
                </c:pt>
                <c:pt idx="1064">
                  <c:v>0.07641324115652237</c:v>
                </c:pt>
                <c:pt idx="1065">
                  <c:v>0.08374058304379295</c:v>
                </c:pt>
                <c:pt idx="1066">
                  <c:v>0.08173308038504112</c:v>
                </c:pt>
                <c:pt idx="1067">
                  <c:v>0.10451804483082783</c:v>
                </c:pt>
                <c:pt idx="1068">
                  <c:v>0.10943633681795184</c:v>
                </c:pt>
                <c:pt idx="1069">
                  <c:v>0.10943633681795184</c:v>
                </c:pt>
                <c:pt idx="1070">
                  <c:v>0.10943633681795184</c:v>
                </c:pt>
                <c:pt idx="1071">
                  <c:v>0.11023935345133395</c:v>
                </c:pt>
                <c:pt idx="1072">
                  <c:v>0.1273030092766143</c:v>
                </c:pt>
                <c:pt idx="1073">
                  <c:v>0.1303142243400386</c:v>
                </c:pt>
                <c:pt idx="1074">
                  <c:v>0.1482811668349393</c:v>
                </c:pt>
                <c:pt idx="1075">
                  <c:v>0.15229617215244318</c:v>
                </c:pt>
                <c:pt idx="1076">
                  <c:v>0.15229617215244318</c:v>
                </c:pt>
                <c:pt idx="1077">
                  <c:v>0.15229617215244318</c:v>
                </c:pt>
                <c:pt idx="1078">
                  <c:v>0.16383921512850752</c:v>
                </c:pt>
                <c:pt idx="1079">
                  <c:v>0.16092842580013533</c:v>
                </c:pt>
                <c:pt idx="1080">
                  <c:v>0.16695077807757697</c:v>
                </c:pt>
                <c:pt idx="1081">
                  <c:v>0.15771628141719973</c:v>
                </c:pt>
                <c:pt idx="1082">
                  <c:v>0.17337475544582026</c:v>
                </c:pt>
                <c:pt idx="1083">
                  <c:v>0.17337475544582026</c:v>
                </c:pt>
                <c:pt idx="1084">
                  <c:v>0.17337475544582026</c:v>
                </c:pt>
                <c:pt idx="1085">
                  <c:v>0.16905862862197418</c:v>
                </c:pt>
                <c:pt idx="1086">
                  <c:v>0.17136725278706866</c:v>
                </c:pt>
                <c:pt idx="1087">
                  <c:v>0.16494327541882536</c:v>
                </c:pt>
                <c:pt idx="1088">
                  <c:v>0.16594714352231188</c:v>
                </c:pt>
                <c:pt idx="1089">
                  <c:v>0.1741777720792026</c:v>
                </c:pt>
                <c:pt idx="1090">
                  <c:v>0.1741777720792026</c:v>
                </c:pt>
                <c:pt idx="1091">
                  <c:v>0.1741777720792026</c:v>
                </c:pt>
                <c:pt idx="1092">
                  <c:v>0.1741777720792026</c:v>
                </c:pt>
                <c:pt idx="1093">
                  <c:v>0.15169392913975854</c:v>
                </c:pt>
                <c:pt idx="1094">
                  <c:v>0.14818081894929458</c:v>
                </c:pt>
                <c:pt idx="1095">
                  <c:v>0.14677563715263453</c:v>
                </c:pt>
                <c:pt idx="1096">
                  <c:v>0.12730300927661475</c:v>
                </c:pt>
                <c:pt idx="1097">
                  <c:v>0.12730300927661475</c:v>
                </c:pt>
                <c:pt idx="1098">
                  <c:v>0.12730300927661475</c:v>
                </c:pt>
                <c:pt idx="1099">
                  <c:v>0.1389464779877314</c:v>
                </c:pt>
                <c:pt idx="1100">
                  <c:v>0.14055235555568157</c:v>
                </c:pt>
                <c:pt idx="1101">
                  <c:v>0.15058971315062686</c:v>
                </c:pt>
                <c:pt idx="1102">
                  <c:v>0.1606272264443862</c:v>
                </c:pt>
                <c:pt idx="1103">
                  <c:v>0.16644896079994465</c:v>
                </c:pt>
                <c:pt idx="1104">
                  <c:v>0.16644896079994465</c:v>
                </c:pt>
                <c:pt idx="1105">
                  <c:v>0.16644896079994465</c:v>
                </c:pt>
                <c:pt idx="1106">
                  <c:v>0.17046396611744852</c:v>
                </c:pt>
                <c:pt idx="1107">
                  <c:v>0.16925940224267166</c:v>
                </c:pt>
                <c:pt idx="1108">
                  <c:v>0.16594714352231188</c:v>
                </c:pt>
                <c:pt idx="1109">
                  <c:v>0.18672460530934654</c:v>
                </c:pt>
                <c:pt idx="1110">
                  <c:v>0.18200700909351286</c:v>
                </c:pt>
                <c:pt idx="1111">
                  <c:v>0.18200700909351286</c:v>
                </c:pt>
                <c:pt idx="1112">
                  <c:v>0.18200700909351286</c:v>
                </c:pt>
                <c:pt idx="1113">
                  <c:v>0.18652375383924236</c:v>
                </c:pt>
                <c:pt idx="1114">
                  <c:v>0.1946540345104879</c:v>
                </c:pt>
                <c:pt idx="1115">
                  <c:v>0.18963539463771872</c:v>
                </c:pt>
                <c:pt idx="1116">
                  <c:v>0.20288474091678554</c:v>
                </c:pt>
                <c:pt idx="1117">
                  <c:v>0.20007429947405853</c:v>
                </c:pt>
                <c:pt idx="1118">
                  <c:v>0.20007429947405853</c:v>
                </c:pt>
                <c:pt idx="1119">
                  <c:v>0.20007429947405853</c:v>
                </c:pt>
                <c:pt idx="1120">
                  <c:v>0.19997395158841336</c:v>
                </c:pt>
                <c:pt idx="1121">
                  <c:v>0.19234548819480057</c:v>
                </c:pt>
                <c:pt idx="1122">
                  <c:v>0.1951559296375276</c:v>
                </c:pt>
                <c:pt idx="1123">
                  <c:v>0.18923392524573113</c:v>
                </c:pt>
                <c:pt idx="1124">
                  <c:v>0.19927136069008355</c:v>
                </c:pt>
                <c:pt idx="1125">
                  <c:v>0.19927136069008355</c:v>
                </c:pt>
                <c:pt idx="1126">
                  <c:v>0.19927136069008355</c:v>
                </c:pt>
                <c:pt idx="1127">
                  <c:v>0.19174332303152286</c:v>
                </c:pt>
                <c:pt idx="1128">
                  <c:v>0.1948548859805923</c:v>
                </c:pt>
                <c:pt idx="1129">
                  <c:v>0.19977317796771632</c:v>
                </c:pt>
                <c:pt idx="1130">
                  <c:v>0.19856876979175353</c:v>
                </c:pt>
                <c:pt idx="1131">
                  <c:v>0.20609680745031422</c:v>
                </c:pt>
                <c:pt idx="1132">
                  <c:v>0.20609680745031422</c:v>
                </c:pt>
                <c:pt idx="1133">
                  <c:v>0.20609680745031422</c:v>
                </c:pt>
                <c:pt idx="1134">
                  <c:v>0.21231993334845312</c:v>
                </c:pt>
                <c:pt idx="1135">
                  <c:v>0.199672752232664</c:v>
                </c:pt>
                <c:pt idx="1136">
                  <c:v>0.20449077418354977</c:v>
                </c:pt>
                <c:pt idx="1137">
                  <c:v>0.2039888790565101</c:v>
                </c:pt>
                <c:pt idx="1138">
                  <c:v>0.21101509943743801</c:v>
                </c:pt>
                <c:pt idx="1139">
                  <c:v>0.21101509943743801</c:v>
                </c:pt>
                <c:pt idx="1140">
                  <c:v>0.21101509943743801</c:v>
                </c:pt>
                <c:pt idx="1141">
                  <c:v>0.2051933650818798</c:v>
                </c:pt>
                <c:pt idx="1142">
                  <c:v>0.20258361941044312</c:v>
                </c:pt>
                <c:pt idx="1143">
                  <c:v>0.19194401880281298</c:v>
                </c:pt>
                <c:pt idx="1144">
                  <c:v>0.19475446024554</c:v>
                </c:pt>
                <c:pt idx="1145">
                  <c:v>0.192646609701143</c:v>
                </c:pt>
                <c:pt idx="1146">
                  <c:v>0.192646609701143</c:v>
                </c:pt>
                <c:pt idx="1147">
                  <c:v>0.192646609701143</c:v>
                </c:pt>
                <c:pt idx="1148">
                  <c:v>0.19886989129809596</c:v>
                </c:pt>
                <c:pt idx="1149">
                  <c:v>0.198167222550359</c:v>
                </c:pt>
                <c:pt idx="1150">
                  <c:v>0.19284730547243334</c:v>
                </c:pt>
                <c:pt idx="1151">
                  <c:v>0.17488044082693954</c:v>
                </c:pt>
                <c:pt idx="1152">
                  <c:v>0.17939718557266882</c:v>
                </c:pt>
                <c:pt idx="1153">
                  <c:v>0.17939718557266882</c:v>
                </c:pt>
                <c:pt idx="1154">
                  <c:v>0.17939718557266882</c:v>
                </c:pt>
                <c:pt idx="1155">
                  <c:v>0.1791964898013787</c:v>
                </c:pt>
                <c:pt idx="1156">
                  <c:v>0.19294773120748543</c:v>
                </c:pt>
                <c:pt idx="1157">
                  <c:v>0.20720086774063184</c:v>
                </c:pt>
                <c:pt idx="1158">
                  <c:v>0.22075141337544824</c:v>
                </c:pt>
                <c:pt idx="1159">
                  <c:v>0.2175394246913267</c:v>
                </c:pt>
                <c:pt idx="1160">
                  <c:v>0.2175394246913267</c:v>
                </c:pt>
                <c:pt idx="1161">
                  <c:v>0.2175394246913267</c:v>
                </c:pt>
                <c:pt idx="1162">
                  <c:v>0.21904503222303884</c:v>
                </c:pt>
                <c:pt idx="1163">
                  <c:v>0.210011387032766</c:v>
                </c:pt>
                <c:pt idx="1164">
                  <c:v>0.20760233713261944</c:v>
                </c:pt>
                <c:pt idx="1165">
                  <c:v>0.2019814542471654</c:v>
                </c:pt>
                <c:pt idx="1166">
                  <c:v>0.19083988066308843</c:v>
                </c:pt>
                <c:pt idx="1167">
                  <c:v>0.19083988066308843</c:v>
                </c:pt>
                <c:pt idx="1168">
                  <c:v>0.19083988066308843</c:v>
                </c:pt>
                <c:pt idx="1169">
                  <c:v>0.19676204075369874</c:v>
                </c:pt>
                <c:pt idx="1170">
                  <c:v>0.2000742994740583</c:v>
                </c:pt>
                <c:pt idx="1171">
                  <c:v>0.2000742994740583</c:v>
                </c:pt>
                <c:pt idx="1172">
                  <c:v>0.20459119991860186</c:v>
                </c:pt>
                <c:pt idx="1173">
                  <c:v>0.20890724889304102</c:v>
                </c:pt>
                <c:pt idx="1174">
                  <c:v>0.20890724889304102</c:v>
                </c:pt>
                <c:pt idx="1175">
                  <c:v>0.20890724889304102</c:v>
                </c:pt>
                <c:pt idx="1176">
                  <c:v>0.21312302783124193</c:v>
                </c:pt>
                <c:pt idx="1177">
                  <c:v>0.21492967901988957</c:v>
                </c:pt>
                <c:pt idx="1178">
                  <c:v>0.2140263145008623</c:v>
                </c:pt>
                <c:pt idx="1179">
                  <c:v>0.2140263145008623</c:v>
                </c:pt>
                <c:pt idx="1180">
                  <c:v>0.222256943057753</c:v>
                </c:pt>
                <c:pt idx="1181">
                  <c:v>0.222256943057753</c:v>
                </c:pt>
                <c:pt idx="1182">
                  <c:v>0.222256943057753</c:v>
                </c:pt>
                <c:pt idx="1183">
                  <c:v>0.22486676657859683</c:v>
                </c:pt>
                <c:pt idx="1184">
                  <c:v>0.227074965008639</c:v>
                </c:pt>
                <c:pt idx="1185">
                  <c:v>0.23359929026252746</c:v>
                </c:pt>
                <c:pt idx="1186">
                  <c:v>0.23430188116085748</c:v>
                </c:pt>
                <c:pt idx="1187">
                  <c:v>0.23580756654197654</c:v>
                </c:pt>
                <c:pt idx="1188">
                  <c:v>0.23580756654197654</c:v>
                </c:pt>
                <c:pt idx="1189">
                  <c:v>0.23580756654197654</c:v>
                </c:pt>
                <c:pt idx="1190">
                  <c:v>0.23289669936419743</c:v>
                </c:pt>
                <c:pt idx="1191">
                  <c:v>0.22556935747692708</c:v>
                </c:pt>
                <c:pt idx="1192">
                  <c:v>0.2343018811608577</c:v>
                </c:pt>
                <c:pt idx="1193">
                  <c:v>0.22657306988159975</c:v>
                </c:pt>
                <c:pt idx="1194">
                  <c:v>0.2251678880849397</c:v>
                </c:pt>
                <c:pt idx="1195">
                  <c:v>0.2251678880849397</c:v>
                </c:pt>
                <c:pt idx="1196">
                  <c:v>0.2251678880849397</c:v>
                </c:pt>
                <c:pt idx="1197">
                  <c:v>0.2276772080213243</c:v>
                </c:pt>
                <c:pt idx="1198">
                  <c:v>0.22297891845843076</c:v>
                </c:pt>
                <c:pt idx="1199">
                  <c:v>0.18662776064701725</c:v>
                </c:pt>
                <c:pt idx="1200">
                  <c:v>0.18672896487613966</c:v>
                </c:pt>
                <c:pt idx="1201">
                  <c:v>0.19604465846803576</c:v>
                </c:pt>
                <c:pt idx="1202">
                  <c:v>0.19604465846803576</c:v>
                </c:pt>
                <c:pt idx="1203">
                  <c:v>0.19604465846803576</c:v>
                </c:pt>
                <c:pt idx="1204">
                  <c:v>0.20343638181490942</c:v>
                </c:pt>
                <c:pt idx="1205">
                  <c:v>0.21356202063741225</c:v>
                </c:pt>
                <c:pt idx="1206">
                  <c:v>0.21356202063741225</c:v>
                </c:pt>
                <c:pt idx="1207">
                  <c:v>0.2145746078744848</c:v>
                </c:pt>
                <c:pt idx="1208">
                  <c:v>0.20536027421052494</c:v>
                </c:pt>
                <c:pt idx="1209">
                  <c:v>0.20536027421052494</c:v>
                </c:pt>
                <c:pt idx="1210">
                  <c:v>0.20536027421052494</c:v>
                </c:pt>
                <c:pt idx="1211">
                  <c:v>0.1930068967568186</c:v>
                </c:pt>
                <c:pt idx="1212">
                  <c:v>0.18976672658735683</c:v>
                </c:pt>
                <c:pt idx="1213">
                  <c:v>0.18976672658735683</c:v>
                </c:pt>
                <c:pt idx="1214">
                  <c:v>0.18743778372703113</c:v>
                </c:pt>
                <c:pt idx="1215">
                  <c:v>0.19979108333133055</c:v>
                </c:pt>
                <c:pt idx="1216">
                  <c:v>0.19979108333133055</c:v>
                </c:pt>
                <c:pt idx="1217">
                  <c:v>0.19979108333133055</c:v>
                </c:pt>
                <c:pt idx="1218">
                  <c:v>0.20809418968615412</c:v>
                </c:pt>
                <c:pt idx="1219">
                  <c:v>0.19644970893274616</c:v>
                </c:pt>
                <c:pt idx="1220">
                  <c:v>0.19655091316186857</c:v>
                </c:pt>
                <c:pt idx="1221">
                  <c:v>0.19655091316186857</c:v>
                </c:pt>
                <c:pt idx="1222">
                  <c:v>0.1783247321416006</c:v>
                </c:pt>
                <c:pt idx="1223">
                  <c:v>0.1783247321416006</c:v>
                </c:pt>
                <c:pt idx="1224">
                  <c:v>0.1783247321416006</c:v>
                </c:pt>
                <c:pt idx="1225">
                  <c:v>0.17812216798454195</c:v>
                </c:pt>
                <c:pt idx="1226">
                  <c:v>0.18146362023253304</c:v>
                </c:pt>
                <c:pt idx="1227">
                  <c:v>0.20070246633928024</c:v>
                </c:pt>
                <c:pt idx="1228">
                  <c:v>0.20080367056840243</c:v>
                </c:pt>
                <c:pt idx="1229">
                  <c:v>0.21103059146943437</c:v>
                </c:pt>
                <c:pt idx="1230">
                  <c:v>0.21103059146943437</c:v>
                </c:pt>
                <c:pt idx="1231">
                  <c:v>0.21103059146943437</c:v>
                </c:pt>
                <c:pt idx="1232">
                  <c:v>0.21103059146943437</c:v>
                </c:pt>
                <c:pt idx="1233">
                  <c:v>0.2248015287755163</c:v>
                </c:pt>
                <c:pt idx="1234">
                  <c:v>0.22925685033910903</c:v>
                </c:pt>
                <c:pt idx="1235">
                  <c:v>0.23604103691362077</c:v>
                </c:pt>
                <c:pt idx="1236">
                  <c:v>0.23593975483509144</c:v>
                </c:pt>
                <c:pt idx="1237">
                  <c:v>0.23593975483509144</c:v>
                </c:pt>
                <c:pt idx="1238">
                  <c:v>0.23593975483509144</c:v>
                </c:pt>
                <c:pt idx="1239">
                  <c:v>0.22115630814134413</c:v>
                </c:pt>
                <c:pt idx="1240">
                  <c:v>0.22925685033910903</c:v>
                </c:pt>
                <c:pt idx="1241">
                  <c:v>0.22561162970493687</c:v>
                </c:pt>
                <c:pt idx="1242">
                  <c:v>0.23502844967654823</c:v>
                </c:pt>
                <c:pt idx="1243">
                  <c:v>0.22713047163584177</c:v>
                </c:pt>
                <c:pt idx="1244">
                  <c:v>0.22713047163584177</c:v>
                </c:pt>
                <c:pt idx="1245">
                  <c:v>0.22713047163584177</c:v>
                </c:pt>
                <c:pt idx="1246">
                  <c:v>0.21720724127158353</c:v>
                </c:pt>
                <c:pt idx="1247">
                  <c:v>0.2282442631020365</c:v>
                </c:pt>
                <c:pt idx="1248">
                  <c:v>0.23421842659653458</c:v>
                </c:pt>
                <c:pt idx="1249">
                  <c:v>0.23847118400306866</c:v>
                </c:pt>
                <c:pt idx="1250">
                  <c:v>0.22854803148821756</c:v>
                </c:pt>
                <c:pt idx="1251">
                  <c:v>0.22854803148821756</c:v>
                </c:pt>
                <c:pt idx="1252">
                  <c:v>0.22854803148821756</c:v>
                </c:pt>
                <c:pt idx="1253">
                  <c:v>0.23847118400306866</c:v>
                </c:pt>
                <c:pt idx="1254">
                  <c:v>0.23867374816012732</c:v>
                </c:pt>
                <c:pt idx="1255">
                  <c:v>0.23755987884452545</c:v>
                </c:pt>
                <c:pt idx="1256">
                  <c:v>0.2519383529229693</c:v>
                </c:pt>
                <c:pt idx="1257">
                  <c:v>0.25173586661531755</c:v>
                </c:pt>
                <c:pt idx="1258">
                  <c:v>0.25173586661531755</c:v>
                </c:pt>
                <c:pt idx="1259">
                  <c:v>0.25173586661531755</c:v>
                </c:pt>
                <c:pt idx="1260">
                  <c:v>0.25173586661531755</c:v>
                </c:pt>
                <c:pt idx="1261">
                  <c:v>0.25689992918039484</c:v>
                </c:pt>
                <c:pt idx="1262">
                  <c:v>0.2553810872494897</c:v>
                </c:pt>
                <c:pt idx="1263">
                  <c:v>0.25365968116152593</c:v>
                </c:pt>
                <c:pt idx="1264">
                  <c:v>0.23664857368598202</c:v>
                </c:pt>
                <c:pt idx="1265">
                  <c:v>0.23664857368598202</c:v>
                </c:pt>
                <c:pt idx="1266">
                  <c:v>0.23664857368598202</c:v>
                </c:pt>
                <c:pt idx="1267">
                  <c:v>0.23006695126852916</c:v>
                </c:pt>
                <c:pt idx="1268">
                  <c:v>0.22814305887291364</c:v>
                </c:pt>
                <c:pt idx="1269">
                  <c:v>0.23047184603442528</c:v>
                </c:pt>
                <c:pt idx="1270">
                  <c:v>0.21173941032032473</c:v>
                </c:pt>
                <c:pt idx="1271">
                  <c:v>0.22348525100166894</c:v>
                </c:pt>
                <c:pt idx="1272">
                  <c:v>0.22348525100166894</c:v>
                </c:pt>
                <c:pt idx="1273">
                  <c:v>0.22348525100166894</c:v>
                </c:pt>
                <c:pt idx="1274">
                  <c:v>0.21052433677560067</c:v>
                </c:pt>
                <c:pt idx="1275">
                  <c:v>0.2017149757269443</c:v>
                </c:pt>
                <c:pt idx="1276">
                  <c:v>0.22075125767663284</c:v>
                </c:pt>
                <c:pt idx="1277">
                  <c:v>0.20191746203459582</c:v>
                </c:pt>
                <c:pt idx="1278">
                  <c:v>0.21001808208176787</c:v>
                </c:pt>
                <c:pt idx="1279">
                  <c:v>0.21001808208176787</c:v>
                </c:pt>
                <c:pt idx="1280">
                  <c:v>0.21001808208176787</c:v>
                </c:pt>
                <c:pt idx="1281">
                  <c:v>0.17872978260630945</c:v>
                </c:pt>
                <c:pt idx="1282">
                  <c:v>0.17255305495475293</c:v>
                </c:pt>
                <c:pt idx="1283">
                  <c:v>0.1795397278369164</c:v>
                </c:pt>
                <c:pt idx="1284">
                  <c:v>0.16607263676642248</c:v>
                </c:pt>
                <c:pt idx="1285">
                  <c:v>0.189260394044116</c:v>
                </c:pt>
                <c:pt idx="1286">
                  <c:v>0.189260394044116</c:v>
                </c:pt>
                <c:pt idx="1287">
                  <c:v>0.189260394044116</c:v>
                </c:pt>
                <c:pt idx="1288">
                  <c:v>0.20110751680398953</c:v>
                </c:pt>
                <c:pt idx="1289">
                  <c:v>0.19250064206298467</c:v>
                </c:pt>
                <c:pt idx="1290">
                  <c:v>0.20222130827018403</c:v>
                </c:pt>
                <c:pt idx="1291">
                  <c:v>0.19715844993422915</c:v>
                </c:pt>
                <c:pt idx="1292">
                  <c:v>0.19462709861565863</c:v>
                </c:pt>
                <c:pt idx="1293">
                  <c:v>0.19462709861565863</c:v>
                </c:pt>
                <c:pt idx="1294">
                  <c:v>0.19462709861565863</c:v>
                </c:pt>
                <c:pt idx="1295">
                  <c:v>0.21214446078503513</c:v>
                </c:pt>
                <c:pt idx="1296">
                  <c:v>0.21275191970799012</c:v>
                </c:pt>
                <c:pt idx="1297">
                  <c:v>0.1993860328666186</c:v>
                </c:pt>
                <c:pt idx="1298">
                  <c:v>0.19766470462806196</c:v>
                </c:pt>
                <c:pt idx="1299">
                  <c:v>0.17700829866893897</c:v>
                </c:pt>
                <c:pt idx="1300">
                  <c:v>0.17700829866893897</c:v>
                </c:pt>
                <c:pt idx="1301">
                  <c:v>0.17700829866893897</c:v>
                </c:pt>
                <c:pt idx="1302">
                  <c:v>0.178527218449251</c:v>
                </c:pt>
                <c:pt idx="1303">
                  <c:v>0.18267877162666268</c:v>
                </c:pt>
                <c:pt idx="1304">
                  <c:v>0.18875413935028296</c:v>
                </c:pt>
                <c:pt idx="1305">
                  <c:v>0.14328992995343914</c:v>
                </c:pt>
                <c:pt idx="1306">
                  <c:v>0.07332145195683437</c:v>
                </c:pt>
                <c:pt idx="1307">
                  <c:v>0.07332145195683437</c:v>
                </c:pt>
                <c:pt idx="1308">
                  <c:v>0.07332145195683437</c:v>
                </c:pt>
                <c:pt idx="1309">
                  <c:v>0.06289204474815047</c:v>
                </c:pt>
                <c:pt idx="1310">
                  <c:v>0.048918543285009886</c:v>
                </c:pt>
                <c:pt idx="1311">
                  <c:v>0.14116347340076496</c:v>
                </c:pt>
                <c:pt idx="1312">
                  <c:v>0.10622987544172724</c:v>
                </c:pt>
                <c:pt idx="1313">
                  <c:v>0.12496238900523471</c:v>
                </c:pt>
                <c:pt idx="1314">
                  <c:v>0.12496238900523471</c:v>
                </c:pt>
                <c:pt idx="1315">
                  <c:v>0.12496238900523471</c:v>
                </c:pt>
                <c:pt idx="1316">
                  <c:v>0.14065721870693193</c:v>
                </c:pt>
                <c:pt idx="1317">
                  <c:v>0.14136595970841648</c:v>
                </c:pt>
                <c:pt idx="1318">
                  <c:v>0.12324106076667807</c:v>
                </c:pt>
                <c:pt idx="1319">
                  <c:v>0.12800007286704496</c:v>
                </c:pt>
                <c:pt idx="1320">
                  <c:v>0.12800007286704496</c:v>
                </c:pt>
                <c:pt idx="1321">
                  <c:v>0.12800007286704496</c:v>
                </c:pt>
                <c:pt idx="1322">
                  <c:v>0.12800007286704496</c:v>
                </c:pt>
                <c:pt idx="1323">
                  <c:v>0.10977389184677722</c:v>
                </c:pt>
                <c:pt idx="1324">
                  <c:v>0.1347842594415567</c:v>
                </c:pt>
                <c:pt idx="1325">
                  <c:v>0.14865647882616817</c:v>
                </c:pt>
                <c:pt idx="1326">
                  <c:v>0.169616653171472</c:v>
                </c:pt>
                <c:pt idx="1327">
                  <c:v>0.17640083974598353</c:v>
                </c:pt>
                <c:pt idx="1328">
                  <c:v>0.17640083974598353</c:v>
                </c:pt>
                <c:pt idx="1329">
                  <c:v>0.17640083974598353</c:v>
                </c:pt>
                <c:pt idx="1330">
                  <c:v>0.17862850052778012</c:v>
                </c:pt>
                <c:pt idx="1331">
                  <c:v>0.18460258617287106</c:v>
                </c:pt>
                <c:pt idx="1332">
                  <c:v>0.18460258617287106</c:v>
                </c:pt>
                <c:pt idx="1333">
                  <c:v>0.1889566256579347</c:v>
                </c:pt>
                <c:pt idx="1334">
                  <c:v>0.20910677692322488</c:v>
                </c:pt>
                <c:pt idx="1335">
                  <c:v>0.20910677692322488</c:v>
                </c:pt>
                <c:pt idx="1336">
                  <c:v>0.20910677692322488</c:v>
                </c:pt>
                <c:pt idx="1337">
                  <c:v>0.20667655198436985</c:v>
                </c:pt>
                <c:pt idx="1338">
                  <c:v>0.1996898791022066</c:v>
                </c:pt>
                <c:pt idx="1339">
                  <c:v>0.2007024663392789</c:v>
                </c:pt>
                <c:pt idx="1340">
                  <c:v>0.20465145535963214</c:v>
                </c:pt>
                <c:pt idx="1341">
                  <c:v>0.20627150151965967</c:v>
                </c:pt>
                <c:pt idx="1342">
                  <c:v>0.20627150151965967</c:v>
                </c:pt>
                <c:pt idx="1343">
                  <c:v>0.20627150151965967</c:v>
                </c:pt>
                <c:pt idx="1344">
                  <c:v>0.23563598644890993</c:v>
                </c:pt>
                <c:pt idx="1345">
                  <c:v>0.24221768671576993</c:v>
                </c:pt>
                <c:pt idx="1346">
                  <c:v>0.24333155603137158</c:v>
                </c:pt>
                <c:pt idx="1347">
                  <c:v>0.250014460527354</c:v>
                </c:pt>
                <c:pt idx="1348">
                  <c:v>0.25598862402185185</c:v>
                </c:pt>
                <c:pt idx="1349">
                  <c:v>0.25598862402185185</c:v>
                </c:pt>
                <c:pt idx="1350">
                  <c:v>0.25598862402185185</c:v>
                </c:pt>
                <c:pt idx="1351">
                  <c:v>0.25993761304220486</c:v>
                </c:pt>
                <c:pt idx="1352">
                  <c:v>0.25852005318982907</c:v>
                </c:pt>
                <c:pt idx="1353">
                  <c:v>0.24292650556666096</c:v>
                </c:pt>
                <c:pt idx="1354">
                  <c:v>0.2422176867157697</c:v>
                </c:pt>
                <c:pt idx="1355">
                  <c:v>0.2383699797739458</c:v>
                </c:pt>
                <c:pt idx="1356">
                  <c:v>0.2383699797739458</c:v>
                </c:pt>
                <c:pt idx="1357">
                  <c:v>0.2383699797739458</c:v>
                </c:pt>
                <c:pt idx="1358">
                  <c:v>0.2383699797739458</c:v>
                </c:pt>
                <c:pt idx="1359">
                  <c:v>0.259127589962191</c:v>
                </c:pt>
                <c:pt idx="1360">
                  <c:v>0.2501157426058829</c:v>
                </c:pt>
                <c:pt idx="1361">
                  <c:v>0.25467234624800494</c:v>
                </c:pt>
                <c:pt idx="1362">
                  <c:v>0.2520396350014982</c:v>
                </c:pt>
                <c:pt idx="1363">
                  <c:v>0.2520396350014982</c:v>
                </c:pt>
                <c:pt idx="1364">
                  <c:v>0.2520396350014982</c:v>
                </c:pt>
                <c:pt idx="1365">
                  <c:v>0.26135525074398736</c:v>
                </c:pt>
                <c:pt idx="1366">
                  <c:v>0.2641903704487387</c:v>
                </c:pt>
                <c:pt idx="1367">
                  <c:v>0.26743061846760763</c:v>
                </c:pt>
                <c:pt idx="1368">
                  <c:v>0.2636841936043133</c:v>
                </c:pt>
                <c:pt idx="1369">
                  <c:v>0.2734047819621057</c:v>
                </c:pt>
                <c:pt idx="1370">
                  <c:v>0.2734047819621057</c:v>
                </c:pt>
                <c:pt idx="1371">
                  <c:v>0.2734047819621057</c:v>
                </c:pt>
                <c:pt idx="1372">
                  <c:v>0.275024828122133</c:v>
                </c:pt>
                <c:pt idx="1373">
                  <c:v>0.28110027369516044</c:v>
                </c:pt>
                <c:pt idx="1374">
                  <c:v>0.2793789454566038</c:v>
                </c:pt>
                <c:pt idx="1375">
                  <c:v>0.28444172594315176</c:v>
                </c:pt>
                <c:pt idx="1376">
                  <c:v>0.26965827924940444</c:v>
                </c:pt>
                <c:pt idx="1377">
                  <c:v>0.26965827924940444</c:v>
                </c:pt>
                <c:pt idx="1378">
                  <c:v>0.26965827924940444</c:v>
                </c:pt>
                <c:pt idx="1379">
                  <c:v>0.2807906666034532</c:v>
                </c:pt>
                <c:pt idx="1380">
                  <c:v>0.2678317764619673</c:v>
                </c:pt>
                <c:pt idx="1381">
                  <c:v>0.26823994090295833</c:v>
                </c:pt>
                <c:pt idx="1382">
                  <c:v>0.26823994090295833</c:v>
                </c:pt>
                <c:pt idx="1383">
                  <c:v>0.2626277771510903</c:v>
                </c:pt>
                <c:pt idx="1384">
                  <c:v>0.2626277771510903</c:v>
                </c:pt>
                <c:pt idx="1385">
                  <c:v>0.2626277771510903</c:v>
                </c:pt>
                <c:pt idx="1386">
                  <c:v>0.2739540873780191</c:v>
                </c:pt>
                <c:pt idx="1387">
                  <c:v>0.2907905007842164</c:v>
                </c:pt>
                <c:pt idx="1388">
                  <c:v>0.2898721891790419</c:v>
                </c:pt>
                <c:pt idx="1389">
                  <c:v>0.30068827439238</c:v>
                </c:pt>
                <c:pt idx="1390">
                  <c:v>0.30650440359063325</c:v>
                </c:pt>
                <c:pt idx="1391">
                  <c:v>0.30650440359063325</c:v>
                </c:pt>
                <c:pt idx="1392">
                  <c:v>0.30650440359063325</c:v>
                </c:pt>
                <c:pt idx="1393">
                  <c:v>0.31221870576450805</c:v>
                </c:pt>
                <c:pt idx="1394">
                  <c:v>0.3115043596057183</c:v>
                </c:pt>
                <c:pt idx="1395">
                  <c:v>0.31681041948919475</c:v>
                </c:pt>
                <c:pt idx="1396">
                  <c:v>0.32436118917460455</c:v>
                </c:pt>
                <c:pt idx="1397">
                  <c:v>0.32436118917460455</c:v>
                </c:pt>
                <c:pt idx="1398">
                  <c:v>0.32436118917460455</c:v>
                </c:pt>
                <c:pt idx="1399">
                  <c:v>0.32436118917460455</c:v>
                </c:pt>
                <c:pt idx="1400">
                  <c:v>0.3128309135012908</c:v>
                </c:pt>
                <c:pt idx="1401">
                  <c:v>0.3150757790020382</c:v>
                </c:pt>
                <c:pt idx="1402">
                  <c:v>0.3222184620958639</c:v>
                </c:pt>
                <c:pt idx="1403">
                  <c:v>0.3249735526102018</c:v>
                </c:pt>
                <c:pt idx="1404">
                  <c:v>0.31834093883115266</c:v>
                </c:pt>
                <c:pt idx="1405">
                  <c:v>0.31834093883115266</c:v>
                </c:pt>
                <c:pt idx="1406">
                  <c:v>0.31834093883115266</c:v>
                </c:pt>
                <c:pt idx="1407">
                  <c:v>0.3201777177403158</c:v>
                </c:pt>
                <c:pt idx="1408">
                  <c:v>0.31466753671164027</c:v>
                </c:pt>
                <c:pt idx="1409">
                  <c:v>0.31976947544991785</c:v>
                </c:pt>
                <c:pt idx="1410">
                  <c:v>0.3250755353333943</c:v>
                </c:pt>
                <c:pt idx="1411">
                  <c:v>0.3240550853062132</c:v>
                </c:pt>
                <c:pt idx="1412">
                  <c:v>0.3240550853062132</c:v>
                </c:pt>
                <c:pt idx="1413">
                  <c:v>0.3240550853062132</c:v>
                </c:pt>
                <c:pt idx="1414">
                  <c:v>0.32783062584773215</c:v>
                </c:pt>
                <c:pt idx="1415">
                  <c:v>0.33007549134847936</c:v>
                </c:pt>
                <c:pt idx="1416">
                  <c:v>0.34589137687808846</c:v>
                </c:pt>
                <c:pt idx="1417">
                  <c:v>0.34313644206256466</c:v>
                </c:pt>
                <c:pt idx="1418">
                  <c:v>0.34568741143170345</c:v>
                </c:pt>
                <c:pt idx="1419">
                  <c:v>0.34568741143170345</c:v>
                </c:pt>
                <c:pt idx="1420">
                  <c:v>0.34568741143170345</c:v>
                </c:pt>
                <c:pt idx="1421">
                  <c:v>0.3396670053894373</c:v>
                </c:pt>
                <c:pt idx="1422">
                  <c:v>0.33721817444230506</c:v>
                </c:pt>
                <c:pt idx="1423">
                  <c:v>0.33272844344081065</c:v>
                </c:pt>
                <c:pt idx="1424">
                  <c:v>0.3260959853605754</c:v>
                </c:pt>
                <c:pt idx="1425">
                  <c:v>0.30936163252697746</c:v>
                </c:pt>
                <c:pt idx="1426">
                  <c:v>0.30936163252697746</c:v>
                </c:pt>
                <c:pt idx="1427">
                  <c:v>0.30936163252697746</c:v>
                </c:pt>
                <c:pt idx="1428">
                  <c:v>0.3282387124393158</c:v>
                </c:pt>
                <c:pt idx="1429">
                  <c:v>0.3245653103198034</c:v>
                </c:pt>
                <c:pt idx="1430">
                  <c:v>0.334463083927967</c:v>
                </c:pt>
                <c:pt idx="1431">
                  <c:v>0.3376262610338887</c:v>
                </c:pt>
                <c:pt idx="1432">
                  <c:v>0.34548329028650393</c:v>
                </c:pt>
                <c:pt idx="1433">
                  <c:v>0.34548329028650393</c:v>
                </c:pt>
                <c:pt idx="1434">
                  <c:v>0.34548329028650393</c:v>
                </c:pt>
                <c:pt idx="1435">
                  <c:v>0.34191187089018404</c:v>
                </c:pt>
                <c:pt idx="1436">
                  <c:v>0.3566054793682336</c:v>
                </c:pt>
                <c:pt idx="1437">
                  <c:v>0.3628298508568848</c:v>
                </c:pt>
                <c:pt idx="1438">
                  <c:v>0.36068712377814416</c:v>
                </c:pt>
                <c:pt idx="1439">
                  <c:v>0.36099322764653574</c:v>
                </c:pt>
                <c:pt idx="1440">
                  <c:v>0.36099322764653574</c:v>
                </c:pt>
                <c:pt idx="1441">
                  <c:v>0.36099322764653574</c:v>
                </c:pt>
                <c:pt idx="1442">
                  <c:v>0.3612993315149273</c:v>
                </c:pt>
                <c:pt idx="1443">
                  <c:v>0.35405450999909505</c:v>
                </c:pt>
                <c:pt idx="1444">
                  <c:v>0.35252399065713735</c:v>
                </c:pt>
                <c:pt idx="1445">
                  <c:v>0.3473199134968534</c:v>
                </c:pt>
                <c:pt idx="1446">
                  <c:v>0.36956444735912664</c:v>
                </c:pt>
                <c:pt idx="1447">
                  <c:v>0.36956444735912664</c:v>
                </c:pt>
                <c:pt idx="1448">
                  <c:v>0.36956444735912664</c:v>
                </c:pt>
                <c:pt idx="1449">
                  <c:v>0.36068712377814416</c:v>
                </c:pt>
                <c:pt idx="1450">
                  <c:v>0.3635441970156743</c:v>
                </c:pt>
                <c:pt idx="1451">
                  <c:v>0.3640542663304507</c:v>
                </c:pt>
                <c:pt idx="1452">
                  <c:v>0.3695644473591262</c:v>
                </c:pt>
                <c:pt idx="1453">
                  <c:v>0.36160543538331846</c:v>
                </c:pt>
                <c:pt idx="1454">
                  <c:v>0.36160543538331846</c:v>
                </c:pt>
                <c:pt idx="1455">
                  <c:v>0.36160543538331846</c:v>
                </c:pt>
                <c:pt idx="1456">
                  <c:v>0.36160543538331846</c:v>
                </c:pt>
                <c:pt idx="1457">
                  <c:v>0.3520137656435465</c:v>
                </c:pt>
                <c:pt idx="1458">
                  <c:v>0.357727912118607</c:v>
                </c:pt>
                <c:pt idx="1459">
                  <c:v>0.3668093568447883</c:v>
                </c:pt>
                <c:pt idx="1460">
                  <c:v>0.3680339280171685</c:v>
                </c:pt>
                <c:pt idx="1461">
                  <c:v>0.3680339280171685</c:v>
                </c:pt>
                <c:pt idx="1462">
                  <c:v>0.3680339280171685</c:v>
                </c:pt>
                <c:pt idx="1463">
                  <c:v>0.37466638609740377</c:v>
                </c:pt>
                <c:pt idx="1464">
                  <c:v>0.3767071304529519</c:v>
                </c:pt>
                <c:pt idx="1465">
                  <c:v>0.37976832483568135</c:v>
                </c:pt>
                <c:pt idx="1466">
                  <c:v>0.3933395005633571</c:v>
                </c:pt>
                <c:pt idx="1467">
                  <c:v>0.39129875620780896</c:v>
                </c:pt>
                <c:pt idx="1468">
                  <c:v>0.39129875620780896</c:v>
                </c:pt>
                <c:pt idx="1469">
                  <c:v>0.39129875620780896</c:v>
                </c:pt>
                <c:pt idx="1470">
                  <c:v>0.4003802009339903</c:v>
                </c:pt>
                <c:pt idx="1471">
                  <c:v>0.3989516643152251</c:v>
                </c:pt>
                <c:pt idx="1472">
                  <c:v>0.3976251104196524</c:v>
                </c:pt>
                <c:pt idx="1473">
                  <c:v>0.4034412396179057</c:v>
                </c:pt>
                <c:pt idx="1474">
                  <c:v>0.4056861051186529</c:v>
                </c:pt>
                <c:pt idx="1475">
                  <c:v>0.4056861051186529</c:v>
                </c:pt>
                <c:pt idx="1476">
                  <c:v>0.4056861051186529</c:v>
                </c:pt>
                <c:pt idx="1477">
                  <c:v>0.412318718897702</c:v>
                </c:pt>
                <c:pt idx="1478">
                  <c:v>0.40701265901422556</c:v>
                </c:pt>
                <c:pt idx="1479">
                  <c:v>0.40099240867077346</c:v>
                </c:pt>
                <c:pt idx="1480">
                  <c:v>0.39405369102333276</c:v>
                </c:pt>
                <c:pt idx="1481">
                  <c:v>0.40140049526235755</c:v>
                </c:pt>
                <c:pt idx="1482">
                  <c:v>0.40140049526235755</c:v>
                </c:pt>
                <c:pt idx="1483">
                  <c:v>0.40140049526235755</c:v>
                </c:pt>
                <c:pt idx="1484">
                  <c:v>0.40486977623667086</c:v>
                </c:pt>
                <c:pt idx="1485">
                  <c:v>0.41058407841054545</c:v>
                </c:pt>
              </c:numCache>
            </c:numRef>
          </c:val>
          <c:smooth val="0"/>
          <c:extLst>
            <c:ext xmlns:c16="http://schemas.microsoft.com/office/drawing/2014/chart" uri="{C3380CC4-5D6E-409C-BE32-E72D297353CC}">
              <c16:uniqueId val="{00000001-1D55-4091-B462-1B341D70D85C}"/>
            </c:ext>
          </c:extLst>
        </c:ser>
        <c:ser>
          <c:idx val="2"/>
          <c:order val="2"/>
          <c:tx>
            <c:strRef>
              <c:f>Sheet1!$D$1</c:f>
              <c:strCache>
                <c:ptCount val="1"/>
                <c:pt idx="0">
                  <c:v>Porfolio return ZMW</c:v>
                </c:pt>
              </c:strCache>
            </c:strRef>
          </c:tx>
          <c:spPr>
            <a:ln w="12700" cap="rnd">
              <a:solidFill>
                <a:schemeClr val="accent1">
                  <a:lumMod val="20000"/>
                  <a:lumOff val="80000"/>
                </a:schemeClr>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D$2:$D$1487</c:f>
              <c:numCache>
                <c:formatCode>General</c:formatCode>
                <c:ptCount val="1486"/>
                <c:pt idx="0">
                  <c:v>0.0</c:v>
                </c:pt>
                <c:pt idx="1">
                  <c:v>-0.007634244642889643</c:v>
                </c:pt>
                <c:pt idx="2">
                  <c:v>-0.019533001447581078</c:v>
                </c:pt>
                <c:pt idx="3">
                  <c:v>-0.020884177730891018</c:v>
                </c:pt>
                <c:pt idx="4">
                  <c:v>-0.019635927337207426</c:v>
                </c:pt>
                <c:pt idx="5">
                  <c:v>-0.019635927337207426</c:v>
                </c:pt>
                <c:pt idx="6">
                  <c:v>-0.019635927337207426</c:v>
                </c:pt>
                <c:pt idx="7">
                  <c:v>-0.0272317677195546</c:v>
                </c:pt>
                <c:pt idx="8">
                  <c:v>-0.028970608033483503</c:v>
                </c:pt>
                <c:pt idx="9">
                  <c:v>-0.019391066204796026</c:v>
                </c:pt>
                <c:pt idx="10">
                  <c:v>-0.026537039003138085</c:v>
                </c:pt>
                <c:pt idx="11">
                  <c:v>-0.03985621066469369</c:v>
                </c:pt>
                <c:pt idx="12">
                  <c:v>-0.03985621066469369</c:v>
                </c:pt>
                <c:pt idx="13">
                  <c:v>-0.03985621066469369</c:v>
                </c:pt>
                <c:pt idx="14">
                  <c:v>-0.0671797050471401</c:v>
                </c:pt>
                <c:pt idx="15">
                  <c:v>-0.06393017199619555</c:v>
                </c:pt>
                <c:pt idx="16">
                  <c:v>-0.046921427028216445</c:v>
                </c:pt>
                <c:pt idx="17">
                  <c:v>-0.03121740356580749</c:v>
                </c:pt>
                <c:pt idx="18">
                  <c:v>-0.030966904074893442</c:v>
                </c:pt>
                <c:pt idx="19">
                  <c:v>-0.030966904074893442</c:v>
                </c:pt>
                <c:pt idx="20">
                  <c:v>-0.030966904074893442</c:v>
                </c:pt>
                <c:pt idx="21">
                  <c:v>-0.037355147739076444</c:v>
                </c:pt>
                <c:pt idx="22">
                  <c:v>-0.04898080053082632</c:v>
                </c:pt>
                <c:pt idx="23">
                  <c:v>-0.048843738621658916</c:v>
                </c:pt>
                <c:pt idx="24">
                  <c:v>-0.05023902473561215</c:v>
                </c:pt>
                <c:pt idx="25">
                  <c:v>-0.04586441543331343</c:v>
                </c:pt>
                <c:pt idx="26">
                  <c:v>-0.04586441543331343</c:v>
                </c:pt>
                <c:pt idx="27">
                  <c:v>-0.04586441543331343</c:v>
                </c:pt>
                <c:pt idx="28">
                  <c:v>-0.06135975835924723</c:v>
                </c:pt>
                <c:pt idx="29">
                  <c:v>-0.04312354653310857</c:v>
                </c:pt>
                <c:pt idx="30">
                  <c:v>-0.04200617617300495</c:v>
                </c:pt>
                <c:pt idx="31">
                  <c:v>-0.021796715240537723</c:v>
                </c:pt>
                <c:pt idx="32">
                  <c:v>-0.019158047744242235</c:v>
                </c:pt>
                <c:pt idx="33">
                  <c:v>-0.019158047744242235</c:v>
                </c:pt>
                <c:pt idx="34">
                  <c:v>-0.019158047744242235</c:v>
                </c:pt>
                <c:pt idx="35">
                  <c:v>-0.01260603735841237</c:v>
                </c:pt>
                <c:pt idx="36">
                  <c:v>-0.016567721229146626</c:v>
                </c:pt>
                <c:pt idx="37">
                  <c:v>-0.008597450775082338</c:v>
                </c:pt>
                <c:pt idx="38">
                  <c:v>0.001851494475414217</c:v>
                </c:pt>
                <c:pt idx="39">
                  <c:v>0.02764370102880931</c:v>
                </c:pt>
                <c:pt idx="40">
                  <c:v>0.02764370102880931</c:v>
                </c:pt>
                <c:pt idx="41">
                  <c:v>0.02764370102880931</c:v>
                </c:pt>
                <c:pt idx="42">
                  <c:v>0.05245970967057989</c:v>
                </c:pt>
                <c:pt idx="43">
                  <c:v>0.046544504312662216</c:v>
                </c:pt>
                <c:pt idx="44">
                  <c:v>0.06328325528787504</c:v>
                </c:pt>
                <c:pt idx="45">
                  <c:v>0.05978095413686546</c:v>
                </c:pt>
                <c:pt idx="46">
                  <c:v>0.056849291551829495</c:v>
                </c:pt>
                <c:pt idx="47">
                  <c:v>0.056849291551829495</c:v>
                </c:pt>
                <c:pt idx="48">
                  <c:v>0.056849291551829495</c:v>
                </c:pt>
                <c:pt idx="49">
                  <c:v>0.06818924101547408</c:v>
                </c:pt>
                <c:pt idx="50">
                  <c:v>0.07442662663209831</c:v>
                </c:pt>
                <c:pt idx="51">
                  <c:v>0.05752766288988198</c:v>
                </c:pt>
                <c:pt idx="52">
                  <c:v>0.06948443470820953</c:v>
                </c:pt>
                <c:pt idx="53">
                  <c:v>0.07855809567000516</c:v>
                </c:pt>
                <c:pt idx="54">
                  <c:v>0.07855809567000516</c:v>
                </c:pt>
                <c:pt idx="55">
                  <c:v>0.07855809567000516</c:v>
                </c:pt>
                <c:pt idx="56">
                  <c:v>0.07654123289583215</c:v>
                </c:pt>
                <c:pt idx="57">
                  <c:v>0.08045322352124207</c:v>
                </c:pt>
                <c:pt idx="58">
                  <c:v>0.07907215187810213</c:v>
                </c:pt>
                <c:pt idx="59">
                  <c:v>0.1000260987198407</c:v>
                </c:pt>
                <c:pt idx="60">
                  <c:v>0.10384413083454769</c:v>
                </c:pt>
                <c:pt idx="61">
                  <c:v>0.10384413083454769</c:v>
                </c:pt>
                <c:pt idx="62">
                  <c:v>0.10384413083454769</c:v>
                </c:pt>
                <c:pt idx="63">
                  <c:v>0.11412922311343277</c:v>
                </c:pt>
                <c:pt idx="64">
                  <c:v>0.11237365148542855</c:v>
                </c:pt>
                <c:pt idx="65">
                  <c:v>0.09557641678919615</c:v>
                </c:pt>
                <c:pt idx="66">
                  <c:v>0.10634984096370204</c:v>
                </c:pt>
                <c:pt idx="67">
                  <c:v>0.1131237652132766</c:v>
                </c:pt>
                <c:pt idx="68">
                  <c:v>0.1131237652132766</c:v>
                </c:pt>
                <c:pt idx="69">
                  <c:v>0.1131237652132766</c:v>
                </c:pt>
                <c:pt idx="70">
                  <c:v>0.10738588188586995</c:v>
                </c:pt>
                <c:pt idx="71">
                  <c:v>0.11455802343072174</c:v>
                </c:pt>
                <c:pt idx="72">
                  <c:v>0.1155128448702416</c:v>
                </c:pt>
                <c:pt idx="73">
                  <c:v>0.11514639184389264</c:v>
                </c:pt>
                <c:pt idx="74">
                  <c:v>0.11135321410226862</c:v>
                </c:pt>
                <c:pt idx="75">
                  <c:v>0.11135321410226862</c:v>
                </c:pt>
                <c:pt idx="76">
                  <c:v>0.11135321410226862</c:v>
                </c:pt>
                <c:pt idx="77">
                  <c:v>0.10682082794669245</c:v>
                </c:pt>
                <c:pt idx="78">
                  <c:v>0.09833393420878167</c:v>
                </c:pt>
                <c:pt idx="79">
                  <c:v>0.08079271085608908</c:v>
                </c:pt>
                <c:pt idx="80">
                  <c:v>0.0867247673924354</c:v>
                </c:pt>
                <c:pt idx="81">
                  <c:v>0.054298408033735646</c:v>
                </c:pt>
                <c:pt idx="82">
                  <c:v>0.054298408033735646</c:v>
                </c:pt>
                <c:pt idx="83">
                  <c:v>0.054298408033735646</c:v>
                </c:pt>
                <c:pt idx="84">
                  <c:v>0.06913049084129308</c:v>
                </c:pt>
                <c:pt idx="85">
                  <c:v>0.048233967044191584</c:v>
                </c:pt>
                <c:pt idx="86">
                  <c:v>0.04302927892933717</c:v>
                </c:pt>
                <c:pt idx="87">
                  <c:v>0.055067237886761156</c:v>
                </c:pt>
                <c:pt idx="88">
                  <c:v>0.03411694277246036</c:v>
                </c:pt>
                <c:pt idx="89">
                  <c:v>0.03411694277246036</c:v>
                </c:pt>
                <c:pt idx="90">
                  <c:v>0.03411694277246036</c:v>
                </c:pt>
                <c:pt idx="91">
                  <c:v>0.03663814265487386</c:v>
                </c:pt>
                <c:pt idx="92">
                  <c:v>0.06083219354738989</c:v>
                </c:pt>
                <c:pt idx="93">
                  <c:v>0.05997500519509136</c:v>
                </c:pt>
                <c:pt idx="94">
                  <c:v>0.04020430608806613</c:v>
                </c:pt>
                <c:pt idx="95">
                  <c:v>-0.039790457474828345</c:v>
                </c:pt>
                <c:pt idx="96">
                  <c:v>-0.039790457474828345</c:v>
                </c:pt>
                <c:pt idx="97">
                  <c:v>-0.039790457474828345</c:v>
                </c:pt>
                <c:pt idx="98">
                  <c:v>-0.0540109204467194</c:v>
                </c:pt>
                <c:pt idx="99">
                  <c:v>-0.062202797877169314</c:v>
                </c:pt>
                <c:pt idx="100">
                  <c:v>-0.04661062792531645</c:v>
                </c:pt>
                <c:pt idx="101">
                  <c:v>-0.04862235090933975</c:v>
                </c:pt>
                <c:pt idx="102">
                  <c:v>-0.05862054257831906</c:v>
                </c:pt>
                <c:pt idx="103">
                  <c:v>-0.05862054257831906</c:v>
                </c:pt>
                <c:pt idx="104">
                  <c:v>-0.05862054257831906</c:v>
                </c:pt>
                <c:pt idx="105">
                  <c:v>-0.0684371738336379</c:v>
                </c:pt>
                <c:pt idx="106">
                  <c:v>-0.049336486780608424</c:v>
                </c:pt>
                <c:pt idx="107">
                  <c:v>-0.037814851057565546</c:v>
                </c:pt>
                <c:pt idx="108">
                  <c:v>-0.023307271946546915</c:v>
                </c:pt>
                <c:pt idx="109">
                  <c:v>-0.02260678042831865</c:v>
                </c:pt>
                <c:pt idx="110">
                  <c:v>-0.02260678042831865</c:v>
                </c:pt>
                <c:pt idx="111">
                  <c:v>-0.02260678042831865</c:v>
                </c:pt>
                <c:pt idx="112">
                  <c:v>-0.01576364680000697</c:v>
                </c:pt>
                <c:pt idx="113">
                  <c:v>-0.01988487199535449</c:v>
                </c:pt>
                <c:pt idx="114">
                  <c:v>-0.022521427407453998</c:v>
                </c:pt>
                <c:pt idx="115">
                  <c:v>-0.02159307494835716</c:v>
                </c:pt>
                <c:pt idx="116">
                  <c:v>-0.020603159322787556</c:v>
                </c:pt>
                <c:pt idx="117">
                  <c:v>-0.020603159322787556</c:v>
                </c:pt>
                <c:pt idx="118">
                  <c:v>-0.020603159322787556</c:v>
                </c:pt>
                <c:pt idx="119">
                  <c:v>-0.014776304222380965</c:v>
                </c:pt>
                <c:pt idx="120">
                  <c:v>-0.0171850931729709</c:v>
                </c:pt>
                <c:pt idx="121">
                  <c:v>-0.03815689616975004</c:v>
                </c:pt>
                <c:pt idx="122">
                  <c:v>-0.04072987320258281</c:v>
                </c:pt>
                <c:pt idx="123">
                  <c:v>-0.04748779251155488</c:v>
                </c:pt>
                <c:pt idx="124">
                  <c:v>-0.04748779251155488</c:v>
                </c:pt>
                <c:pt idx="125">
                  <c:v>-0.04748779251155488</c:v>
                </c:pt>
                <c:pt idx="126">
                  <c:v>-0.05262036530739844</c:v>
                </c:pt>
                <c:pt idx="127">
                  <c:v>-0.018287575743444417</c:v>
                </c:pt>
                <c:pt idx="128">
                  <c:v>0.006514048199585787</c:v>
                </c:pt>
                <c:pt idx="129">
                  <c:v>-0.004132722102384245</c:v>
                </c:pt>
                <c:pt idx="130">
                  <c:v>-0.0022608271800068636</c:v>
                </c:pt>
                <c:pt idx="131">
                  <c:v>-0.0022608271800068636</c:v>
                </c:pt>
                <c:pt idx="132">
                  <c:v>-0.0022608271800068636</c:v>
                </c:pt>
                <c:pt idx="133">
                  <c:v>-0.0025921946786824357</c:v>
                </c:pt>
                <c:pt idx="134">
                  <c:v>-0.016255403500646026</c:v>
                </c:pt>
                <c:pt idx="135">
                  <c:v>-0.015601290203942408</c:v>
                </c:pt>
                <c:pt idx="136">
                  <c:v>-0.014284225095026137</c:v>
                </c:pt>
                <c:pt idx="137">
                  <c:v>-0.03663976652993628</c:v>
                </c:pt>
                <c:pt idx="138">
                  <c:v>-0.03663976652993628</c:v>
                </c:pt>
                <c:pt idx="139">
                  <c:v>-0.03663976652993628</c:v>
                </c:pt>
                <c:pt idx="140">
                  <c:v>-0.04944604382018403</c:v>
                </c:pt>
                <c:pt idx="141">
                  <c:v>-0.063859297183266</c:v>
                </c:pt>
                <c:pt idx="142">
                  <c:v>-0.056643707907443774</c:v>
                </c:pt>
                <c:pt idx="143">
                  <c:v>-0.06372439828339171</c:v>
                </c:pt>
                <c:pt idx="144">
                  <c:v>-0.04319086365188918</c:v>
                </c:pt>
                <c:pt idx="145">
                  <c:v>-0.04319086365188918</c:v>
                </c:pt>
                <c:pt idx="146">
                  <c:v>-0.04319086365188918</c:v>
                </c:pt>
                <c:pt idx="147">
                  <c:v>-0.008790387298631686</c:v>
                </c:pt>
                <c:pt idx="148">
                  <c:v>0.010520961220869207</c:v>
                </c:pt>
                <c:pt idx="149">
                  <c:v>0.015017131209815515</c:v>
                </c:pt>
                <c:pt idx="150">
                  <c:v>-0.006855648832140515</c:v>
                </c:pt>
                <c:pt idx="151">
                  <c:v>0.012243768822696177</c:v>
                </c:pt>
                <c:pt idx="152">
                  <c:v>0.012243768822696177</c:v>
                </c:pt>
                <c:pt idx="153">
                  <c:v>0.012243768822696177</c:v>
                </c:pt>
                <c:pt idx="154">
                  <c:v>0.02124014212390346</c:v>
                </c:pt>
                <c:pt idx="155">
                  <c:v>0.02895781925101315</c:v>
                </c:pt>
                <c:pt idx="156">
                  <c:v>0.06351812383757216</c:v>
                </c:pt>
                <c:pt idx="157">
                  <c:v>0.058717831171735124</c:v>
                </c:pt>
                <c:pt idx="158">
                  <c:v>0.0467493343133738</c:v>
                </c:pt>
                <c:pt idx="159">
                  <c:v>0.0467493343133738</c:v>
                </c:pt>
                <c:pt idx="160">
                  <c:v>0.0467493343133738</c:v>
                </c:pt>
                <c:pt idx="161">
                  <c:v>0.04520826674708078</c:v>
                </c:pt>
                <c:pt idx="162">
                  <c:v>0.06396251969061217</c:v>
                </c:pt>
                <c:pt idx="163">
                  <c:v>0.03926576394462811</c:v>
                </c:pt>
                <c:pt idx="164">
                  <c:v>-0.010344652679749156</c:v>
                </c:pt>
                <c:pt idx="165">
                  <c:v>-0.05081054436484578</c:v>
                </c:pt>
                <c:pt idx="166">
                  <c:v>-0.05081054436484578</c:v>
                </c:pt>
                <c:pt idx="167">
                  <c:v>-0.05081054436484578</c:v>
                </c:pt>
                <c:pt idx="168">
                  <c:v>-0.06211821079188695</c:v>
                </c:pt>
                <c:pt idx="169">
                  <c:v>-0.06355760962162083</c:v>
                </c:pt>
                <c:pt idx="170">
                  <c:v>-0.06602155874407667</c:v>
                </c:pt>
                <c:pt idx="171">
                  <c:v>-0.060537953383537624</c:v>
                </c:pt>
                <c:pt idx="172">
                  <c:v>-0.03283162444452714</c:v>
                </c:pt>
                <c:pt idx="173">
                  <c:v>-0.03283162444452714</c:v>
                </c:pt>
                <c:pt idx="174">
                  <c:v>-0.03283162444452714</c:v>
                </c:pt>
                <c:pt idx="175">
                  <c:v>-0.040438785841292124</c:v>
                </c:pt>
                <c:pt idx="176">
                  <c:v>-0.04875658056547383</c:v>
                </c:pt>
                <c:pt idx="177">
                  <c:v>-0.0377381782614673</c:v>
                </c:pt>
                <c:pt idx="178">
                  <c:v>-0.03664698079565598</c:v>
                </c:pt>
                <c:pt idx="179">
                  <c:v>-0.04702790148069169</c:v>
                </c:pt>
                <c:pt idx="180">
                  <c:v>-0.04702790148069169</c:v>
                </c:pt>
                <c:pt idx="181">
                  <c:v>-0.04702790148069169</c:v>
                </c:pt>
                <c:pt idx="182">
                  <c:v>-0.07715077538912396</c:v>
                </c:pt>
                <c:pt idx="183">
                  <c:v>-0.07562170120161915</c:v>
                </c:pt>
                <c:pt idx="184">
                  <c:v>-0.04324726934000578</c:v>
                </c:pt>
                <c:pt idx="185">
                  <c:v>-0.04144289320530925</c:v>
                </c:pt>
                <c:pt idx="186">
                  <c:v>-0.05128657803413739</c:v>
                </c:pt>
                <c:pt idx="187">
                  <c:v>-0.05128657803413739</c:v>
                </c:pt>
                <c:pt idx="188">
                  <c:v>-0.05128657803413739</c:v>
                </c:pt>
                <c:pt idx="189">
                  <c:v>-0.06887449240325483</c:v>
                </c:pt>
                <c:pt idx="190">
                  <c:v>-0.06356270537411579</c:v>
                </c:pt>
                <c:pt idx="191">
                  <c:v>-0.046184118101418314</c:v>
                </c:pt>
                <c:pt idx="192">
                  <c:v>-0.02808485114185022</c:v>
                </c:pt>
                <c:pt idx="193">
                  <c:v>-0.013943289805272707</c:v>
                </c:pt>
                <c:pt idx="194">
                  <c:v>-0.013943289805272707</c:v>
                </c:pt>
                <c:pt idx="195">
                  <c:v>-0.013943289805272707</c:v>
                </c:pt>
                <c:pt idx="196">
                  <c:v>-0.02003017990241518</c:v>
                </c:pt>
                <c:pt idx="197">
                  <c:v>-0.00933710752421646</c:v>
                </c:pt>
                <c:pt idx="198">
                  <c:v>-0.0218267020350843</c:v>
                </c:pt>
                <c:pt idx="199">
                  <c:v>-0.0031844349034363395</c:v>
                </c:pt>
                <c:pt idx="200">
                  <c:v>-0.0034248290988678765</c:v>
                </c:pt>
                <c:pt idx="201">
                  <c:v>-0.0034248290988678765</c:v>
                </c:pt>
                <c:pt idx="202">
                  <c:v>-0.0034248290988678765</c:v>
                </c:pt>
                <c:pt idx="203">
                  <c:v>0.009939899933486318</c:v>
                </c:pt>
                <c:pt idx="204">
                  <c:v>0.031312635932958965</c:v>
                </c:pt>
                <c:pt idx="205">
                  <c:v>0.03539877495063837</c:v>
                </c:pt>
                <c:pt idx="206">
                  <c:v>0.019083234558084028</c:v>
                </c:pt>
                <c:pt idx="207">
                  <c:v>0.028228056613867958</c:v>
                </c:pt>
                <c:pt idx="208">
                  <c:v>0.028228056613867958</c:v>
                </c:pt>
                <c:pt idx="209">
                  <c:v>0.028228056613867958</c:v>
                </c:pt>
                <c:pt idx="210">
                  <c:v>0.03177139918155514</c:v>
                </c:pt>
                <c:pt idx="211">
                  <c:v>-0.010298679373165864</c:v>
                </c:pt>
                <c:pt idx="212">
                  <c:v>-0.03250616543501905</c:v>
                </c:pt>
                <c:pt idx="213">
                  <c:v>-0.03429675831334145</c:v>
                </c:pt>
                <c:pt idx="214">
                  <c:v>-0.03743486362606652</c:v>
                </c:pt>
                <c:pt idx="215">
                  <c:v>-0.03743486362606652</c:v>
                </c:pt>
                <c:pt idx="216">
                  <c:v>-0.03743486362606652</c:v>
                </c:pt>
                <c:pt idx="217">
                  <c:v>-0.06041439845230845</c:v>
                </c:pt>
                <c:pt idx="218">
                  <c:v>-0.06388839052987727</c:v>
                </c:pt>
                <c:pt idx="219">
                  <c:v>-0.053976744972278334</c:v>
                </c:pt>
                <c:pt idx="220">
                  <c:v>-0.0672227217494541</c:v>
                </c:pt>
                <c:pt idx="221">
                  <c:v>-0.06750592387190424</c:v>
                </c:pt>
                <c:pt idx="222">
                  <c:v>-0.06750592387190424</c:v>
                </c:pt>
                <c:pt idx="223">
                  <c:v>-0.06750592387190424</c:v>
                </c:pt>
                <c:pt idx="224">
                  <c:v>-0.05608949582153622</c:v>
                </c:pt>
                <c:pt idx="225">
                  <c:v>-0.04184707596666282</c:v>
                </c:pt>
                <c:pt idx="226">
                  <c:v>-0.04933337039863128</c:v>
                </c:pt>
                <c:pt idx="227">
                  <c:v>-0.07350430619784287</c:v>
                </c:pt>
                <c:pt idx="228">
                  <c:v>-0.09046647629739923</c:v>
                </c:pt>
                <c:pt idx="229">
                  <c:v>-0.09046647629739923</c:v>
                </c:pt>
                <c:pt idx="230">
                  <c:v>-0.09046647629739923</c:v>
                </c:pt>
                <c:pt idx="231">
                  <c:v>-0.1339405669682755</c:v>
                </c:pt>
                <c:pt idx="232">
                  <c:v>-0.15213975801840096</c:v>
                </c:pt>
                <c:pt idx="233">
                  <c:v>-0.14100300241123898</c:v>
                </c:pt>
                <c:pt idx="234">
                  <c:v>-0.11361114983456289</c:v>
                </c:pt>
                <c:pt idx="235">
                  <c:v>-0.12604694687348272</c:v>
                </c:pt>
                <c:pt idx="236">
                  <c:v>-0.12604694687348272</c:v>
                </c:pt>
                <c:pt idx="237">
                  <c:v>-0.12604694687348272</c:v>
                </c:pt>
                <c:pt idx="238">
                  <c:v>-0.1270759998647324</c:v>
                </c:pt>
                <c:pt idx="239">
                  <c:v>-0.11789139110217517</c:v>
                </c:pt>
                <c:pt idx="240">
                  <c:v>-0.10013763225097949</c:v>
                </c:pt>
                <c:pt idx="241">
                  <c:v>-0.11898288310209204</c:v>
                </c:pt>
                <c:pt idx="242">
                  <c:v>-0.12970246075997938</c:v>
                </c:pt>
                <c:pt idx="243">
                  <c:v>-0.12970246075997938</c:v>
                </c:pt>
                <c:pt idx="244">
                  <c:v>-0.12970246075997938</c:v>
                </c:pt>
                <c:pt idx="245">
                  <c:v>-0.16575368930893986</c:v>
                </c:pt>
                <c:pt idx="246">
                  <c:v>-0.16566286867166247</c:v>
                </c:pt>
                <c:pt idx="247">
                  <c:v>-0.17265265424879428</c:v>
                </c:pt>
                <c:pt idx="248">
                  <c:v>-0.17906442937639355</c:v>
                </c:pt>
                <c:pt idx="249">
                  <c:v>-0.14769236017538612</c:v>
                </c:pt>
                <c:pt idx="250">
                  <c:v>-0.14769236017538612</c:v>
                </c:pt>
                <c:pt idx="251">
                  <c:v>-0.14769236017538612</c:v>
                </c:pt>
                <c:pt idx="252">
                  <c:v>-0.1570998359466831</c:v>
                </c:pt>
                <c:pt idx="253">
                  <c:v>-0.12247685835823874</c:v>
                </c:pt>
                <c:pt idx="254">
                  <c:v>-0.15203938964350716</c:v>
                </c:pt>
                <c:pt idx="255">
                  <c:v>-0.15189995178987514</c:v>
                </c:pt>
                <c:pt idx="256">
                  <c:v>-0.14801100872253292</c:v>
                </c:pt>
                <c:pt idx="257">
                  <c:v>-0.14801100872253292</c:v>
                </c:pt>
                <c:pt idx="258">
                  <c:v>-0.14801100872253292</c:v>
                </c:pt>
                <c:pt idx="259">
                  <c:v>-0.13315724473187784</c:v>
                </c:pt>
                <c:pt idx="260">
                  <c:v>-0.14072999465950164</c:v>
                </c:pt>
                <c:pt idx="261">
                  <c:v>-0.1325340787541993</c:v>
                </c:pt>
                <c:pt idx="262">
                  <c:v>-0.116001762936634</c:v>
                </c:pt>
                <c:pt idx="263">
                  <c:v>-0.08810167168955452</c:v>
                </c:pt>
                <c:pt idx="264">
                  <c:v>-0.08810167168955452</c:v>
                </c:pt>
                <c:pt idx="265">
                  <c:v>-0.08810167168955452</c:v>
                </c:pt>
                <c:pt idx="266">
                  <c:v>-0.0799551214305474</c:v>
                </c:pt>
                <c:pt idx="267">
                  <c:v>-0.08388374733223769</c:v>
                </c:pt>
                <c:pt idx="268">
                  <c:v>-0.09390550255582264</c:v>
                </c:pt>
                <c:pt idx="269">
                  <c:v>-0.07472254376522314</c:v>
                </c:pt>
                <c:pt idx="270">
                  <c:v>-0.09321591010652086</c:v>
                </c:pt>
                <c:pt idx="271">
                  <c:v>-0.09321591010652086</c:v>
                </c:pt>
                <c:pt idx="272">
                  <c:v>-0.09321591010652086</c:v>
                </c:pt>
                <c:pt idx="273">
                  <c:v>-0.09445565034198922</c:v>
                </c:pt>
                <c:pt idx="274">
                  <c:v>-0.09998828102322577</c:v>
                </c:pt>
                <c:pt idx="275">
                  <c:v>-0.10697979240270294</c:v>
                </c:pt>
                <c:pt idx="276">
                  <c:v>-0.12511929021684887</c:v>
                </c:pt>
                <c:pt idx="277">
                  <c:v>-0.14022541697631952</c:v>
                </c:pt>
                <c:pt idx="278">
                  <c:v>-0.14022541697631952</c:v>
                </c:pt>
                <c:pt idx="279">
                  <c:v>-0.14022541697631952</c:v>
                </c:pt>
                <c:pt idx="280">
                  <c:v>-0.173881190153226</c:v>
                </c:pt>
                <c:pt idx="281">
                  <c:v>-0.18340522378038238</c:v>
                </c:pt>
                <c:pt idx="282">
                  <c:v>-0.17131159623065062</c:v>
                </c:pt>
                <c:pt idx="283">
                  <c:v>-0.19842117550566718</c:v>
                </c:pt>
                <c:pt idx="284">
                  <c:v>-0.1930577708790795</c:v>
                </c:pt>
                <c:pt idx="285">
                  <c:v>-0.1930577708790795</c:v>
                </c:pt>
                <c:pt idx="286">
                  <c:v>-0.1930577708790795</c:v>
                </c:pt>
                <c:pt idx="287">
                  <c:v>-0.1848583128804674</c:v>
                </c:pt>
                <c:pt idx="288">
                  <c:v>-0.1728998341386675</c:v>
                </c:pt>
                <c:pt idx="289">
                  <c:v>-0.18211774469153408</c:v>
                </c:pt>
                <c:pt idx="290">
                  <c:v>-0.1784775755806126</c:v>
                </c:pt>
                <c:pt idx="291">
                  <c:v>-0.15157994470506864</c:v>
                </c:pt>
                <c:pt idx="292">
                  <c:v>-0.15157994470506864</c:v>
                </c:pt>
                <c:pt idx="293">
                  <c:v>-0.15157994470506864</c:v>
                </c:pt>
                <c:pt idx="294">
                  <c:v>-0.14711779509920453</c:v>
                </c:pt>
                <c:pt idx="295">
                  <c:v>-0.16170675641545929</c:v>
                </c:pt>
                <c:pt idx="296">
                  <c:v>-0.17221811994096814</c:v>
                </c:pt>
                <c:pt idx="297">
                  <c:v>-0.18618493610761033</c:v>
                </c:pt>
                <c:pt idx="298">
                  <c:v>-0.19938676291328716</c:v>
                </c:pt>
                <c:pt idx="299">
                  <c:v>-0.19938676291328716</c:v>
                </c:pt>
                <c:pt idx="300">
                  <c:v>-0.19938676291328716</c:v>
                </c:pt>
                <c:pt idx="301">
                  <c:v>-0.21224792801629033</c:v>
                </c:pt>
                <c:pt idx="302">
                  <c:v>-0.22218128526925907</c:v>
                </c:pt>
                <c:pt idx="303">
                  <c:v>-0.22015659540083854</c:v>
                </c:pt>
                <c:pt idx="304">
                  <c:v>-0.21097273733082977</c:v>
                </c:pt>
                <c:pt idx="305">
                  <c:v>-0.20739235152939428</c:v>
                </c:pt>
                <c:pt idx="306">
                  <c:v>-0.20739235152939428</c:v>
                </c:pt>
                <c:pt idx="307">
                  <c:v>-0.20739235152939428</c:v>
                </c:pt>
                <c:pt idx="308">
                  <c:v>-0.2292734689128897</c:v>
                </c:pt>
                <c:pt idx="309">
                  <c:v>-0.228283925709601</c:v>
                </c:pt>
                <c:pt idx="310">
                  <c:v>-0.22964882315146262</c:v>
                </c:pt>
                <c:pt idx="311">
                  <c:v>-0.2347043449415811</c:v>
                </c:pt>
                <c:pt idx="312">
                  <c:v>-0.2222875726712219</c:v>
                </c:pt>
                <c:pt idx="313">
                  <c:v>-0.2222875726712219</c:v>
                </c:pt>
                <c:pt idx="314">
                  <c:v>-0.2222875726712219</c:v>
                </c:pt>
                <c:pt idx="315">
                  <c:v>-0.2157152103018386</c:v>
                </c:pt>
                <c:pt idx="316">
                  <c:v>-0.19820686464201598</c:v>
                </c:pt>
                <c:pt idx="317">
                  <c:v>-0.1889360635359787</c:v>
                </c:pt>
                <c:pt idx="318">
                  <c:v>-0.1861657917439542</c:v>
                </c:pt>
                <c:pt idx="319">
                  <c:v>-0.19004506018920375</c:v>
                </c:pt>
                <c:pt idx="320">
                  <c:v>-0.19004506018920375</c:v>
                </c:pt>
                <c:pt idx="321">
                  <c:v>-0.19004506018920375</c:v>
                </c:pt>
                <c:pt idx="322">
                  <c:v>-0.19743687211722583</c:v>
                </c:pt>
                <c:pt idx="323">
                  <c:v>-0.21154172812169636</c:v>
                </c:pt>
                <c:pt idx="324">
                  <c:v>-0.17629936126404477</c:v>
                </c:pt>
                <c:pt idx="325">
                  <c:v>-0.1616504607885122</c:v>
                </c:pt>
                <c:pt idx="326">
                  <c:v>-0.17723122598376306</c:v>
                </c:pt>
                <c:pt idx="327">
                  <c:v>-0.17723122598376306</c:v>
                </c:pt>
                <c:pt idx="328">
                  <c:v>-0.17723122598376306</c:v>
                </c:pt>
                <c:pt idx="329">
                  <c:v>-0.17195076450375013</c:v>
                </c:pt>
                <c:pt idx="330">
                  <c:v>-0.17678648063272195</c:v>
                </c:pt>
                <c:pt idx="331">
                  <c:v>-0.18693075634469358</c:v>
                </c:pt>
                <c:pt idx="332">
                  <c:v>-0.1722701716109012</c:v>
                </c:pt>
                <c:pt idx="333">
                  <c:v>-0.17172760797556452</c:v>
                </c:pt>
                <c:pt idx="334">
                  <c:v>-0.17172760797556452</c:v>
                </c:pt>
                <c:pt idx="335">
                  <c:v>-0.17172760797556452</c:v>
                </c:pt>
                <c:pt idx="336">
                  <c:v>-0.16684551017483773</c:v>
                </c:pt>
                <c:pt idx="337">
                  <c:v>-0.1848200720239065</c:v>
                </c:pt>
                <c:pt idx="338">
                  <c:v>-0.15724276486712885</c:v>
                </c:pt>
                <c:pt idx="339">
                  <c:v>-0.15741285256723703</c:v>
                </c:pt>
                <c:pt idx="340">
                  <c:v>-0.1455552499590933</c:v>
                </c:pt>
                <c:pt idx="341">
                  <c:v>-0.1455552499590933</c:v>
                </c:pt>
                <c:pt idx="342">
                  <c:v>-0.1455552499590933</c:v>
                </c:pt>
                <c:pt idx="343">
                  <c:v>-0.1455183177704782</c:v>
                </c:pt>
                <c:pt idx="344">
                  <c:v>-0.14243362908667712</c:v>
                </c:pt>
                <c:pt idx="345">
                  <c:v>-0.15281556853019596</c:v>
                </c:pt>
                <c:pt idx="346">
                  <c:v>-0.15201217679100132</c:v>
                </c:pt>
                <c:pt idx="347">
                  <c:v>-0.1625223788164385</c:v>
                </c:pt>
                <c:pt idx="348">
                  <c:v>-0.1625223788164385</c:v>
                </c:pt>
                <c:pt idx="349">
                  <c:v>-0.1625223788164385</c:v>
                </c:pt>
                <c:pt idx="350">
                  <c:v>-0.17515731610771135</c:v>
                </c:pt>
                <c:pt idx="351">
                  <c:v>-0.17741086161929598</c:v>
                </c:pt>
                <c:pt idx="352">
                  <c:v>-0.1755570337210327</c:v>
                </c:pt>
                <c:pt idx="353">
                  <c:v>-0.1633764633521836</c:v>
                </c:pt>
                <c:pt idx="354">
                  <c:v>-0.18388339980044088</c:v>
                </c:pt>
                <c:pt idx="355">
                  <c:v>-0.18388339980044088</c:v>
                </c:pt>
                <c:pt idx="356">
                  <c:v>-0.18388339980044088</c:v>
                </c:pt>
                <c:pt idx="357">
                  <c:v>-0.18351206153632627</c:v>
                </c:pt>
                <c:pt idx="358">
                  <c:v>-0.20050988564457173</c:v>
                </c:pt>
                <c:pt idx="359">
                  <c:v>-0.211162461913175</c:v>
                </c:pt>
                <c:pt idx="360">
                  <c:v>-0.2342713736497003</c:v>
                </c:pt>
                <c:pt idx="361">
                  <c:v>-0.26031017501023335</c:v>
                </c:pt>
                <c:pt idx="362">
                  <c:v>-0.26031017501023335</c:v>
                </c:pt>
                <c:pt idx="363">
                  <c:v>-0.26031017501023335</c:v>
                </c:pt>
                <c:pt idx="364">
                  <c:v>-0.2643918907969284</c:v>
                </c:pt>
                <c:pt idx="365">
                  <c:v>-0.2648073088019479</c:v>
                </c:pt>
                <c:pt idx="366">
                  <c:v>-0.25516729896048906</c:v>
                </c:pt>
                <c:pt idx="367">
                  <c:v>-0.25007766009367827</c:v>
                </c:pt>
                <c:pt idx="368">
                  <c:v>-0.23508885075966846</c:v>
                </c:pt>
                <c:pt idx="369">
                  <c:v>-0.23508885075966846</c:v>
                </c:pt>
                <c:pt idx="370">
                  <c:v>-0.23508885075966846</c:v>
                </c:pt>
                <c:pt idx="371">
                  <c:v>-0.22999032909306838</c:v>
                </c:pt>
                <c:pt idx="372">
                  <c:v>-0.2516763929547631</c:v>
                </c:pt>
                <c:pt idx="373">
                  <c:v>-0.2508418194959202</c:v>
                </c:pt>
                <c:pt idx="374">
                  <c:v>-0.26170238272072077</c:v>
                </c:pt>
                <c:pt idx="375">
                  <c:v>-0.2685457150409155</c:v>
                </c:pt>
                <c:pt idx="376">
                  <c:v>-0.2685457150409155</c:v>
                </c:pt>
                <c:pt idx="377">
                  <c:v>-0.2685457150409155</c:v>
                </c:pt>
                <c:pt idx="378">
                  <c:v>-0.27901480138628687</c:v>
                </c:pt>
                <c:pt idx="379">
                  <c:v>-0.26720526971888936</c:v>
                </c:pt>
                <c:pt idx="380">
                  <c:v>-0.2687858473576167</c:v>
                </c:pt>
                <c:pt idx="381">
                  <c:v>-0.2856188262180964</c:v>
                </c:pt>
                <c:pt idx="382">
                  <c:v>-0.3007545220295281</c:v>
                </c:pt>
                <c:pt idx="383">
                  <c:v>-0.3007545220295281</c:v>
                </c:pt>
                <c:pt idx="384">
                  <c:v>-0.3007545220295281</c:v>
                </c:pt>
                <c:pt idx="385">
                  <c:v>-0.28437707932037093</c:v>
                </c:pt>
                <c:pt idx="386">
                  <c:v>-0.30151511321980373</c:v>
                </c:pt>
                <c:pt idx="387">
                  <c:v>-0.2939065591840173</c:v>
                </c:pt>
                <c:pt idx="388">
                  <c:v>-0.30948657525840273</c:v>
                </c:pt>
                <c:pt idx="389">
                  <c:v>-0.3137144899813604</c:v>
                </c:pt>
                <c:pt idx="390">
                  <c:v>-0.3137144899813604</c:v>
                </c:pt>
                <c:pt idx="391">
                  <c:v>-0.3137144899813604</c:v>
                </c:pt>
                <c:pt idx="392">
                  <c:v>-0.29897857413484497</c:v>
                </c:pt>
                <c:pt idx="393">
                  <c:v>-0.28095004178002925</c:v>
                </c:pt>
                <c:pt idx="394">
                  <c:v>-0.2821284204719311</c:v>
                </c:pt>
                <c:pt idx="395">
                  <c:v>-0.2835284769333243</c:v>
                </c:pt>
                <c:pt idx="396">
                  <c:v>-0.3051780084116027</c:v>
                </c:pt>
                <c:pt idx="397">
                  <c:v>-0.3051780084116027</c:v>
                </c:pt>
                <c:pt idx="398">
                  <c:v>-0.3051780084116027</c:v>
                </c:pt>
                <c:pt idx="399">
                  <c:v>-0.30431700162304176</c:v>
                </c:pt>
                <c:pt idx="400">
                  <c:v>-0.3171319531679042</c:v>
                </c:pt>
                <c:pt idx="401">
                  <c:v>-0.3200663005401416</c:v>
                </c:pt>
                <c:pt idx="402">
                  <c:v>-0.3088457717937405</c:v>
                </c:pt>
                <c:pt idx="403">
                  <c:v>-0.3175436893865863</c:v>
                </c:pt>
                <c:pt idx="404">
                  <c:v>-0.3175436893865863</c:v>
                </c:pt>
                <c:pt idx="405">
                  <c:v>-0.3175436893865863</c:v>
                </c:pt>
                <c:pt idx="406">
                  <c:v>-0.30047198700524613</c:v>
                </c:pt>
                <c:pt idx="407">
                  <c:v>-0.29398876869000456</c:v>
                </c:pt>
                <c:pt idx="408">
                  <c:v>-0.3021251739286386</c:v>
                </c:pt>
                <c:pt idx="409">
                  <c:v>-0.30402760013216557</c:v>
                </c:pt>
                <c:pt idx="410">
                  <c:v>-0.28998487586608024</c:v>
                </c:pt>
                <c:pt idx="411">
                  <c:v>-0.28998487586608024</c:v>
                </c:pt>
                <c:pt idx="412">
                  <c:v>-0.28998487586608024</c:v>
                </c:pt>
                <c:pt idx="413">
                  <c:v>-0.2996516079508055</c:v>
                </c:pt>
                <c:pt idx="414">
                  <c:v>-0.2840524157361475</c:v>
                </c:pt>
                <c:pt idx="415">
                  <c:v>-0.27566841639563466</c:v>
                </c:pt>
                <c:pt idx="416">
                  <c:v>-0.2837500855516366</c:v>
                </c:pt>
                <c:pt idx="417">
                  <c:v>-0.2805701042404912</c:v>
                </c:pt>
                <c:pt idx="418">
                  <c:v>-0.2805701042404912</c:v>
                </c:pt>
                <c:pt idx="419">
                  <c:v>-0.2805701042404912</c:v>
                </c:pt>
                <c:pt idx="420">
                  <c:v>-0.2851851299298124</c:v>
                </c:pt>
                <c:pt idx="421">
                  <c:v>-0.2723549585069992</c:v>
                </c:pt>
                <c:pt idx="422">
                  <c:v>-0.292212449349606</c:v>
                </c:pt>
                <c:pt idx="423">
                  <c:v>-0.29982267109145644</c:v>
                </c:pt>
                <c:pt idx="424">
                  <c:v>-0.27814848382494983</c:v>
                </c:pt>
                <c:pt idx="425">
                  <c:v>-0.27814848382494983</c:v>
                </c:pt>
                <c:pt idx="426">
                  <c:v>-0.27814848382494983</c:v>
                </c:pt>
                <c:pt idx="427">
                  <c:v>-0.2715319865771175</c:v>
                </c:pt>
                <c:pt idx="428">
                  <c:v>-0.2504241861777152</c:v>
                </c:pt>
                <c:pt idx="429">
                  <c:v>-0.2625608534709135</c:v>
                </c:pt>
                <c:pt idx="430">
                  <c:v>-0.22098562872702476</c:v>
                </c:pt>
                <c:pt idx="431">
                  <c:v>-0.20100354264329656</c:v>
                </c:pt>
                <c:pt idx="432">
                  <c:v>-0.20100354264329656</c:v>
                </c:pt>
                <c:pt idx="433">
                  <c:v>-0.20100354264329656</c:v>
                </c:pt>
                <c:pt idx="434">
                  <c:v>-0.2105427477190105</c:v>
                </c:pt>
                <c:pt idx="435">
                  <c:v>-0.1929477706312338</c:v>
                </c:pt>
                <c:pt idx="436">
                  <c:v>-0.20379713324012494</c:v>
                </c:pt>
                <c:pt idx="437">
                  <c:v>-0.20820749321106746</c:v>
                </c:pt>
                <c:pt idx="438">
                  <c:v>-0.2056727528008373</c:v>
                </c:pt>
                <c:pt idx="439">
                  <c:v>-0.2056727528008373</c:v>
                </c:pt>
                <c:pt idx="440">
                  <c:v>-0.2056727528008373</c:v>
                </c:pt>
                <c:pt idx="441">
                  <c:v>-0.2114843999761995</c:v>
                </c:pt>
                <c:pt idx="442">
                  <c:v>-0.20156910206130818</c:v>
                </c:pt>
                <c:pt idx="443">
                  <c:v>-0.1923649682809364</c:v>
                </c:pt>
                <c:pt idx="444">
                  <c:v>-0.18845902889126764</c:v>
                </c:pt>
                <c:pt idx="445">
                  <c:v>-0.18958704567812434</c:v>
                </c:pt>
                <c:pt idx="446">
                  <c:v>-0.18958704567812434</c:v>
                </c:pt>
                <c:pt idx="447">
                  <c:v>-0.18958704567812434</c:v>
                </c:pt>
                <c:pt idx="448">
                  <c:v>-0.2011883559393184</c:v>
                </c:pt>
                <c:pt idx="449">
                  <c:v>-0.19292694883640782</c:v>
                </c:pt>
                <c:pt idx="450">
                  <c:v>-0.16887895830163813</c:v>
                </c:pt>
                <c:pt idx="451">
                  <c:v>-0.15902041263509892</c:v>
                </c:pt>
                <c:pt idx="452">
                  <c:v>-0.15603751206549754</c:v>
                </c:pt>
                <c:pt idx="453">
                  <c:v>-0.15603751206549754</c:v>
                </c:pt>
                <c:pt idx="454">
                  <c:v>-0.15603751206549754</c:v>
                </c:pt>
                <c:pt idx="455">
                  <c:v>-0.1584270913735698</c:v>
                </c:pt>
                <c:pt idx="456">
                  <c:v>-0.16987030016717175</c:v>
                </c:pt>
                <c:pt idx="457">
                  <c:v>-0.1707841294759087</c:v>
                </c:pt>
                <c:pt idx="458">
                  <c:v>-0.1559516558934918</c:v>
                </c:pt>
                <c:pt idx="459">
                  <c:v>-0.15287736329587953</c:v>
                </c:pt>
                <c:pt idx="460">
                  <c:v>-0.15287736329587953</c:v>
                </c:pt>
                <c:pt idx="461">
                  <c:v>-0.15287736329587953</c:v>
                </c:pt>
                <c:pt idx="462">
                  <c:v>-0.14992441036945758</c:v>
                </c:pt>
                <c:pt idx="463">
                  <c:v>-0.13997978741183137</c:v>
                </c:pt>
                <c:pt idx="464">
                  <c:v>-0.13843790196079087</c:v>
                </c:pt>
                <c:pt idx="465">
                  <c:v>-0.15945314850735615</c:v>
                </c:pt>
                <c:pt idx="466">
                  <c:v>-0.1620626952570462</c:v>
                </c:pt>
                <c:pt idx="467">
                  <c:v>-0.1620626952570462</c:v>
                </c:pt>
                <c:pt idx="468">
                  <c:v>-0.1620626952570462</c:v>
                </c:pt>
                <c:pt idx="469">
                  <c:v>-0.15854023151920493</c:v>
                </c:pt>
                <c:pt idx="470">
                  <c:v>-0.1647238826580797</c:v>
                </c:pt>
                <c:pt idx="471">
                  <c:v>-0.149277413509054</c:v>
                </c:pt>
                <c:pt idx="472">
                  <c:v>-0.15655351351216906</c:v>
                </c:pt>
                <c:pt idx="473">
                  <c:v>-0.15224969589880166</c:v>
                </c:pt>
                <c:pt idx="474">
                  <c:v>-0.15224969589880166</c:v>
                </c:pt>
                <c:pt idx="475">
                  <c:v>-0.15224969589880166</c:v>
                </c:pt>
                <c:pt idx="476">
                  <c:v>-0.14834353266470413</c:v>
                </c:pt>
                <c:pt idx="477">
                  <c:v>-0.1551174681161004</c:v>
                </c:pt>
                <c:pt idx="478">
                  <c:v>-0.15766206471161814</c:v>
                </c:pt>
                <c:pt idx="479">
                  <c:v>-0.1422647238928153</c:v>
                </c:pt>
                <c:pt idx="480">
                  <c:v>-0.14160044263904492</c:v>
                </c:pt>
                <c:pt idx="481">
                  <c:v>-0.14160044263904492</c:v>
                </c:pt>
                <c:pt idx="482">
                  <c:v>-0.14160044263904492</c:v>
                </c:pt>
                <c:pt idx="483">
                  <c:v>-0.1372399268191543</c:v>
                </c:pt>
                <c:pt idx="484">
                  <c:v>-0.1412076680130515</c:v>
                </c:pt>
                <c:pt idx="485">
                  <c:v>-0.12754827009534897</c:v>
                </c:pt>
                <c:pt idx="486">
                  <c:v>-0.12786091899979357</c:v>
                </c:pt>
                <c:pt idx="487">
                  <c:v>-0.10870134600668113</c:v>
                </c:pt>
                <c:pt idx="488">
                  <c:v>-0.10870134600668113</c:v>
                </c:pt>
                <c:pt idx="489">
                  <c:v>-0.10870134600668113</c:v>
                </c:pt>
                <c:pt idx="490">
                  <c:v>-0.09476708517435517</c:v>
                </c:pt>
                <c:pt idx="491">
                  <c:v>-0.08853710856523134</c:v>
                </c:pt>
                <c:pt idx="492">
                  <c:v>-0.07635385464495592</c:v>
                </c:pt>
                <c:pt idx="493">
                  <c:v>-0.06636861562947671</c:v>
                </c:pt>
                <c:pt idx="494">
                  <c:v>-0.06403743143650231</c:v>
                </c:pt>
                <c:pt idx="495">
                  <c:v>-0.06403743143650231</c:v>
                </c:pt>
                <c:pt idx="496">
                  <c:v>-0.06403743143650231</c:v>
                </c:pt>
                <c:pt idx="497">
                  <c:v>-0.06932866022093498</c:v>
                </c:pt>
                <c:pt idx="498">
                  <c:v>-0.06255073583976789</c:v>
                </c:pt>
                <c:pt idx="499">
                  <c:v>-0.062385801333247004</c:v>
                </c:pt>
                <c:pt idx="500">
                  <c:v>-0.06815985612645636</c:v>
                </c:pt>
                <c:pt idx="501">
                  <c:v>-0.040707242284113265</c:v>
                </c:pt>
                <c:pt idx="502">
                  <c:v>-0.040707242284113265</c:v>
                </c:pt>
                <c:pt idx="503">
                  <c:v>-0.040707242284113265</c:v>
                </c:pt>
                <c:pt idx="504">
                  <c:v>-0.032422299709321534</c:v>
                </c:pt>
                <c:pt idx="505">
                  <c:v>-0.026787845169802704</c:v>
                </c:pt>
                <c:pt idx="506">
                  <c:v>-0.02539876582298095</c:v>
                </c:pt>
                <c:pt idx="507">
                  <c:v>-0.009832551197613726</c:v>
                </c:pt>
                <c:pt idx="508">
                  <c:v>0.0009749322806571481</c:v>
                </c:pt>
                <c:pt idx="509">
                  <c:v>0.0009749322806571481</c:v>
                </c:pt>
                <c:pt idx="510">
                  <c:v>0.0009749322806571481</c:v>
                </c:pt>
                <c:pt idx="511">
                  <c:v>-0.012096448978106245</c:v>
                </c:pt>
                <c:pt idx="512">
                  <c:v>-0.0004367231446046338</c:v>
                </c:pt>
                <c:pt idx="513">
                  <c:v>0.017007620569229553</c:v>
                </c:pt>
                <c:pt idx="514">
                  <c:v>0.039626429705581945</c:v>
                </c:pt>
                <c:pt idx="515">
                  <c:v>0.02568424256041557</c:v>
                </c:pt>
                <c:pt idx="516">
                  <c:v>0.02568424256041557</c:v>
                </c:pt>
                <c:pt idx="517">
                  <c:v>0.02568424256041557</c:v>
                </c:pt>
                <c:pt idx="518">
                  <c:v>0.01844154475623827</c:v>
                </c:pt>
                <c:pt idx="519">
                  <c:v>0.020927135837764288</c:v>
                </c:pt>
                <c:pt idx="520">
                  <c:v>0.009725552117896497</c:v>
                </c:pt>
                <c:pt idx="521">
                  <c:v>0.013531745778530446</c:v>
                </c:pt>
                <c:pt idx="522">
                  <c:v>0.0023007207916689865</c:v>
                </c:pt>
                <c:pt idx="523">
                  <c:v>0.0023007207916689865</c:v>
                </c:pt>
                <c:pt idx="524">
                  <c:v>0.0023007207916689865</c:v>
                </c:pt>
                <c:pt idx="525">
                  <c:v>0.01224449072536471</c:v>
                </c:pt>
                <c:pt idx="526">
                  <c:v>0.020738445406593753</c:v>
                </c:pt>
                <c:pt idx="527">
                  <c:v>0.02341980594377313</c:v>
                </c:pt>
                <c:pt idx="528">
                  <c:v>0.01640408836318663</c:v>
                </c:pt>
                <c:pt idx="529">
                  <c:v>0.006373467705350855</c:v>
                </c:pt>
                <c:pt idx="530">
                  <c:v>0.006373467705350855</c:v>
                </c:pt>
                <c:pt idx="531">
                  <c:v>0.006373467705350855</c:v>
                </c:pt>
                <c:pt idx="532">
                  <c:v>0.005073857646409996</c:v>
                </c:pt>
                <c:pt idx="533">
                  <c:v>-0.002933049180094738</c:v>
                </c:pt>
                <c:pt idx="534">
                  <c:v>-0.006808461599748128</c:v>
                </c:pt>
                <c:pt idx="535">
                  <c:v>0.009164722576498141</c:v>
                </c:pt>
                <c:pt idx="536">
                  <c:v>-0.007385103440669116</c:v>
                </c:pt>
                <c:pt idx="537">
                  <c:v>-0.007385103440669116</c:v>
                </c:pt>
                <c:pt idx="538">
                  <c:v>-0.007385103440669116</c:v>
                </c:pt>
                <c:pt idx="539">
                  <c:v>0.0023274118215643735</c:v>
                </c:pt>
                <c:pt idx="540">
                  <c:v>0.0067162680378192174</c:v>
                </c:pt>
                <c:pt idx="541">
                  <c:v>0.014646476728880309</c:v>
                </c:pt>
                <c:pt idx="542">
                  <c:v>0.018433883228249348</c:v>
                </c:pt>
                <c:pt idx="543">
                  <c:v>0.04268775555121174</c:v>
                </c:pt>
                <c:pt idx="544">
                  <c:v>0.04268775555121174</c:v>
                </c:pt>
                <c:pt idx="545">
                  <c:v>0.04268775555121174</c:v>
                </c:pt>
                <c:pt idx="546">
                  <c:v>0.040711653225282696</c:v>
                </c:pt>
                <c:pt idx="547">
                  <c:v>0.029273975643220984</c:v>
                </c:pt>
                <c:pt idx="548">
                  <c:v>0.032202816042337545</c:v>
                </c:pt>
                <c:pt idx="549">
                  <c:v>0.014470719080338368</c:v>
                </c:pt>
                <c:pt idx="550">
                  <c:v>-0.001148979582143883</c:v>
                </c:pt>
                <c:pt idx="551">
                  <c:v>-0.001148979582143883</c:v>
                </c:pt>
                <c:pt idx="552">
                  <c:v>-0.001148979582143883</c:v>
                </c:pt>
                <c:pt idx="553">
                  <c:v>-0.003982549910280797</c:v>
                </c:pt>
                <c:pt idx="554">
                  <c:v>0.024062071834275445</c:v>
                </c:pt>
                <c:pt idx="555">
                  <c:v>0.003580051997812417</c:v>
                </c:pt>
                <c:pt idx="556">
                  <c:v>0.028236340109607072</c:v>
                </c:pt>
                <c:pt idx="557">
                  <c:v>0.021131176893685266</c:v>
                </c:pt>
                <c:pt idx="558">
                  <c:v>0.021131176893685266</c:v>
                </c:pt>
                <c:pt idx="559">
                  <c:v>0.021131176893685266</c:v>
                </c:pt>
                <c:pt idx="560">
                  <c:v>0.01280635713329037</c:v>
                </c:pt>
                <c:pt idx="561">
                  <c:v>0.05162185549069287</c:v>
                </c:pt>
                <c:pt idx="562">
                  <c:v>0.05288703028180164</c:v>
                </c:pt>
                <c:pt idx="563">
                  <c:v>0.06975599615936079</c:v>
                </c:pt>
                <c:pt idx="564">
                  <c:v>0.0748781153573872</c:v>
                </c:pt>
                <c:pt idx="565">
                  <c:v>0.0748781153573872</c:v>
                </c:pt>
                <c:pt idx="566">
                  <c:v>0.0748781153573872</c:v>
                </c:pt>
                <c:pt idx="567">
                  <c:v>0.0767025385416451</c:v>
                </c:pt>
                <c:pt idx="568">
                  <c:v>0.0846049037187322</c:v>
                </c:pt>
                <c:pt idx="569">
                  <c:v>0.09564839544966386</c:v>
                </c:pt>
                <c:pt idx="570">
                  <c:v>0.108860396456129</c:v>
                </c:pt>
                <c:pt idx="571">
                  <c:v>0.1260826161775621</c:v>
                </c:pt>
                <c:pt idx="572">
                  <c:v>0.1260826161775621</c:v>
                </c:pt>
                <c:pt idx="573">
                  <c:v>0.1260826161775621</c:v>
                </c:pt>
                <c:pt idx="574">
                  <c:v>0.11586956123160186</c:v>
                </c:pt>
                <c:pt idx="575">
                  <c:v>0.07943926233089327</c:v>
                </c:pt>
                <c:pt idx="576">
                  <c:v>0.05031714330528736</c:v>
                </c:pt>
                <c:pt idx="577">
                  <c:v>0.027890961611268805</c:v>
                </c:pt>
                <c:pt idx="578">
                  <c:v>0.020758058952779157</c:v>
                </c:pt>
                <c:pt idx="579">
                  <c:v>0.020758058952779157</c:v>
                </c:pt>
                <c:pt idx="580">
                  <c:v>0.020758058952779157</c:v>
                </c:pt>
                <c:pt idx="581">
                  <c:v>0.01459531971392436</c:v>
                </c:pt>
                <c:pt idx="582">
                  <c:v>0.02981974027026979</c:v>
                </c:pt>
                <c:pt idx="583">
                  <c:v>-0.0021022350022062986</c:v>
                </c:pt>
                <c:pt idx="584">
                  <c:v>-0.018302351386821347</c:v>
                </c:pt>
                <c:pt idx="585">
                  <c:v>-0.019925116508457963</c:v>
                </c:pt>
                <c:pt idx="586">
                  <c:v>-0.019925116508457963</c:v>
                </c:pt>
                <c:pt idx="587">
                  <c:v>-0.019925116508457963</c:v>
                </c:pt>
                <c:pt idx="588">
                  <c:v>-0.039222645098356934</c:v>
                </c:pt>
                <c:pt idx="589">
                  <c:v>-0.06418374540958027</c:v>
                </c:pt>
                <c:pt idx="590">
                  <c:v>-0.0682124921670163</c:v>
                </c:pt>
                <c:pt idx="591">
                  <c:v>-0.09298345287288945</c:v>
                </c:pt>
                <c:pt idx="592">
                  <c:v>-0.10712391028524693</c:v>
                </c:pt>
                <c:pt idx="593">
                  <c:v>-0.10712391028524693</c:v>
                </c:pt>
                <c:pt idx="594">
                  <c:v>-0.10712391028524693</c:v>
                </c:pt>
                <c:pt idx="595">
                  <c:v>-0.09785201101554786</c:v>
                </c:pt>
                <c:pt idx="596">
                  <c:v>-0.11602745499132339</c:v>
                </c:pt>
                <c:pt idx="597">
                  <c:v>-0.10408348089549624</c:v>
                </c:pt>
                <c:pt idx="598">
                  <c:v>-0.0846219732324549</c:v>
                </c:pt>
                <c:pt idx="599">
                  <c:v>-0.07660711445636958</c:v>
                </c:pt>
                <c:pt idx="600">
                  <c:v>-0.07660711445636958</c:v>
                </c:pt>
                <c:pt idx="601">
                  <c:v>-0.07660711445636958</c:v>
                </c:pt>
                <c:pt idx="602">
                  <c:v>-0.08605112879641652</c:v>
                </c:pt>
                <c:pt idx="603">
                  <c:v>-0.08515671705725592</c:v>
                </c:pt>
                <c:pt idx="604">
                  <c:v>-0.08686500534516828</c:v>
                </c:pt>
                <c:pt idx="605">
                  <c:v>-0.08759703713535338</c:v>
                </c:pt>
                <c:pt idx="606">
                  <c:v>-0.06257226459077159</c:v>
                </c:pt>
                <c:pt idx="607">
                  <c:v>-0.06257226459077159</c:v>
                </c:pt>
                <c:pt idx="608">
                  <c:v>-0.06257226459077159</c:v>
                </c:pt>
                <c:pt idx="609">
                  <c:v>-0.05624952387898574</c:v>
                </c:pt>
                <c:pt idx="610">
                  <c:v>-0.05812604044532632</c:v>
                </c:pt>
                <c:pt idx="611">
                  <c:v>-0.04861538797512743</c:v>
                </c:pt>
                <c:pt idx="612">
                  <c:v>-0.05011789139650502</c:v>
                </c:pt>
                <c:pt idx="613">
                  <c:v>-0.048919114432040334</c:v>
                </c:pt>
                <c:pt idx="614">
                  <c:v>-0.048919114432040334</c:v>
                </c:pt>
                <c:pt idx="615">
                  <c:v>-0.048919114432040334</c:v>
                </c:pt>
                <c:pt idx="616">
                  <c:v>-0.03898120889832479</c:v>
                </c:pt>
                <c:pt idx="617">
                  <c:v>-0.019018866643820798</c:v>
                </c:pt>
                <c:pt idx="618">
                  <c:v>-0.012520477051403023</c:v>
                </c:pt>
                <c:pt idx="619">
                  <c:v>-0.010403449141084264</c:v>
                </c:pt>
                <c:pt idx="620">
                  <c:v>-0.01011479309075336</c:v>
                </c:pt>
                <c:pt idx="621">
                  <c:v>-0.01011479309075336</c:v>
                </c:pt>
                <c:pt idx="622">
                  <c:v>-0.01011479309075336</c:v>
                </c:pt>
                <c:pt idx="623">
                  <c:v>-2.9092624341697793e-05</c:v>
                </c:pt>
                <c:pt idx="624">
                  <c:v>-0.008856244476383002</c:v>
                </c:pt>
                <c:pt idx="625">
                  <c:v>-0.005542576147396172</c:v>
                </c:pt>
                <c:pt idx="626">
                  <c:v>0.017012752655604757</c:v>
                </c:pt>
                <c:pt idx="627">
                  <c:v>0.040624915087871916</c:v>
                </c:pt>
                <c:pt idx="628">
                  <c:v>0.040624915087871916</c:v>
                </c:pt>
                <c:pt idx="629">
                  <c:v>0.040624915087871916</c:v>
                </c:pt>
                <c:pt idx="630">
                  <c:v>0.037059093745110516</c:v>
                </c:pt>
                <c:pt idx="631">
                  <c:v>0.04015319174706944</c:v>
                </c:pt>
                <c:pt idx="632">
                  <c:v>0.02530637993570939</c:v>
                </c:pt>
                <c:pt idx="633">
                  <c:v>0.04934711011720894</c:v>
                </c:pt>
                <c:pt idx="634">
                  <c:v>0.06501559316800454</c:v>
                </c:pt>
                <c:pt idx="635">
                  <c:v>0.06501559316800454</c:v>
                </c:pt>
                <c:pt idx="636">
                  <c:v>0.06501559316800454</c:v>
                </c:pt>
                <c:pt idx="637">
                  <c:v>0.07831378204934492</c:v>
                </c:pt>
                <c:pt idx="638">
                  <c:v>0.08006074843656652</c:v>
                </c:pt>
                <c:pt idx="639">
                  <c:v>0.08672250266244608</c:v>
                </c:pt>
                <c:pt idx="640">
                  <c:v>0.0964931606072772</c:v>
                </c:pt>
                <c:pt idx="641">
                  <c:v>0.1038500140732721</c:v>
                </c:pt>
                <c:pt idx="642">
                  <c:v>0.1038500140732721</c:v>
                </c:pt>
                <c:pt idx="643">
                  <c:v>0.1038500140732721</c:v>
                </c:pt>
                <c:pt idx="644">
                  <c:v>0.11238608660826488</c:v>
                </c:pt>
                <c:pt idx="645">
                  <c:v>0.10717824027753031</c:v>
                </c:pt>
                <c:pt idx="646">
                  <c:v>0.07014943349173675</c:v>
                </c:pt>
                <c:pt idx="647">
                  <c:v>0.08459963589524877</c:v>
                </c:pt>
                <c:pt idx="648">
                  <c:v>0.10151082837535053</c:v>
                </c:pt>
                <c:pt idx="649">
                  <c:v>0.10151082837535053</c:v>
                </c:pt>
                <c:pt idx="650">
                  <c:v>0.10151082837535053</c:v>
                </c:pt>
                <c:pt idx="651">
                  <c:v>0.0957116764184387</c:v>
                </c:pt>
                <c:pt idx="652">
                  <c:v>0.09614821380086602</c:v>
                </c:pt>
                <c:pt idx="653">
                  <c:v>-0.019568317759601994</c:v>
                </c:pt>
                <c:pt idx="654">
                  <c:v>-0.02084668519625732</c:v>
                </c:pt>
                <c:pt idx="655">
                  <c:v>-0.015877702599200072</c:v>
                </c:pt>
                <c:pt idx="656">
                  <c:v>-0.015877702599200072</c:v>
                </c:pt>
                <c:pt idx="657">
                  <c:v>-0.015877702599200072</c:v>
                </c:pt>
                <c:pt idx="658">
                  <c:v>-0.06411912475753112</c:v>
                </c:pt>
                <c:pt idx="659">
                  <c:v>-0.0481499246695033</c:v>
                </c:pt>
                <c:pt idx="660">
                  <c:v>-0.04234368578410608</c:v>
                </c:pt>
                <c:pt idx="661">
                  <c:v>-0.04224548069835532</c:v>
                </c:pt>
                <c:pt idx="662">
                  <c:v>-0.0193780058995624</c:v>
                </c:pt>
                <c:pt idx="663">
                  <c:v>-0.0193780058995624</c:v>
                </c:pt>
                <c:pt idx="664">
                  <c:v>-0.0193780058995624</c:v>
                </c:pt>
                <c:pt idx="665">
                  <c:v>-0.004462327660363585</c:v>
                </c:pt>
                <c:pt idx="666">
                  <c:v>0.010010653702980932</c:v>
                </c:pt>
                <c:pt idx="667">
                  <c:v>0.006198687637722244</c:v>
                </c:pt>
                <c:pt idx="668">
                  <c:v>-0.01890946805000404</c:v>
                </c:pt>
                <c:pt idx="669">
                  <c:v>0.027873106079332244</c:v>
                </c:pt>
                <c:pt idx="670">
                  <c:v>0.027873106079332244</c:v>
                </c:pt>
                <c:pt idx="671">
                  <c:v>0.027873106079332244</c:v>
                </c:pt>
                <c:pt idx="672">
                  <c:v>0.006481636328558471</c:v>
                </c:pt>
                <c:pt idx="673">
                  <c:v>0.03323521090365933</c:v>
                </c:pt>
                <c:pt idx="674">
                  <c:v>0.06141219095001271</c:v>
                </c:pt>
                <c:pt idx="675">
                  <c:v>0.07581264984565461</c:v>
                </c:pt>
                <c:pt idx="676">
                  <c:v>0.08378854457069607</c:v>
                </c:pt>
                <c:pt idx="677">
                  <c:v>0.08378854457069607</c:v>
                </c:pt>
                <c:pt idx="678">
                  <c:v>0.08378854457069607</c:v>
                </c:pt>
                <c:pt idx="679">
                  <c:v>0.09505636422534591</c:v>
                </c:pt>
                <c:pt idx="680">
                  <c:v>0.11689185052697493</c:v>
                </c:pt>
                <c:pt idx="681">
                  <c:v>0.11869370815944458</c:v>
                </c:pt>
                <c:pt idx="682">
                  <c:v>0.10743921504504228</c:v>
                </c:pt>
                <c:pt idx="683">
                  <c:v>0.11316540510886797</c:v>
                </c:pt>
                <c:pt idx="684">
                  <c:v>0.11316540510886797</c:v>
                </c:pt>
                <c:pt idx="685">
                  <c:v>0.11316540510886797</c:v>
                </c:pt>
                <c:pt idx="686">
                  <c:v>0.12188459310074817</c:v>
                </c:pt>
                <c:pt idx="687">
                  <c:v>0.13096352654317944</c:v>
                </c:pt>
                <c:pt idx="688">
                  <c:v>0.12317414935909787</c:v>
                </c:pt>
                <c:pt idx="689">
                  <c:v>0.08336536380273363</c:v>
                </c:pt>
                <c:pt idx="690">
                  <c:v>0.08244767107842232</c:v>
                </c:pt>
                <c:pt idx="691">
                  <c:v>0.08244767107842232</c:v>
                </c:pt>
                <c:pt idx="692">
                  <c:v>0.08244767107842232</c:v>
                </c:pt>
                <c:pt idx="693">
                  <c:v>0.09008407684590436</c:v>
                </c:pt>
                <c:pt idx="694">
                  <c:v>0.10706791196482213</c:v>
                </c:pt>
                <c:pt idx="695">
                  <c:v>0.08860829218954103</c:v>
                </c:pt>
                <c:pt idx="696">
                  <c:v>0.09834164912635801</c:v>
                </c:pt>
                <c:pt idx="697">
                  <c:v>0.09773942227557564</c:v>
                </c:pt>
                <c:pt idx="698">
                  <c:v>0.09773942227557564</c:v>
                </c:pt>
                <c:pt idx="699">
                  <c:v>0.09773942227557564</c:v>
                </c:pt>
                <c:pt idx="700">
                  <c:v>0.09949697794573331</c:v>
                </c:pt>
                <c:pt idx="701">
                  <c:v>0.11284893828119258</c:v>
                </c:pt>
                <c:pt idx="702">
                  <c:v>0.07500411583663058</c:v>
                </c:pt>
                <c:pt idx="703">
                  <c:v>0.059003099866462794</c:v>
                </c:pt>
                <c:pt idx="704">
                  <c:v>0.055376905379258545</c:v>
                </c:pt>
                <c:pt idx="705">
                  <c:v>0.055376905379258545</c:v>
                </c:pt>
                <c:pt idx="706">
                  <c:v>0.055376905379258545</c:v>
                </c:pt>
                <c:pt idx="707">
                  <c:v>0.07061505656676337</c:v>
                </c:pt>
                <c:pt idx="708">
                  <c:v>0.06329745403547427</c:v>
                </c:pt>
                <c:pt idx="709">
                  <c:v>0.061816359807573606</c:v>
                </c:pt>
                <c:pt idx="710">
                  <c:v>0.060884806793739976</c:v>
                </c:pt>
                <c:pt idx="711">
                  <c:v>0.056858416424434566</c:v>
                </c:pt>
                <c:pt idx="712">
                  <c:v>0.056858416424434566</c:v>
                </c:pt>
                <c:pt idx="713">
                  <c:v>0.056858416424434566</c:v>
                </c:pt>
                <c:pt idx="714">
                  <c:v>0.057801806914050236</c:v>
                </c:pt>
                <c:pt idx="715">
                  <c:v>0.06488120950482079</c:v>
                </c:pt>
                <c:pt idx="716">
                  <c:v>0.07511887639621895</c:v>
                </c:pt>
                <c:pt idx="717">
                  <c:v>0.0677305389002032</c:v>
                </c:pt>
                <c:pt idx="718">
                  <c:v>0.07589453502396992</c:v>
                </c:pt>
                <c:pt idx="719">
                  <c:v>0.07589453502396992</c:v>
                </c:pt>
                <c:pt idx="720">
                  <c:v>0.07589453502396992</c:v>
                </c:pt>
                <c:pt idx="721">
                  <c:v>0.0949291015246847</c:v>
                </c:pt>
                <c:pt idx="722">
                  <c:v>0.11925315243024626</c:v>
                </c:pt>
                <c:pt idx="723">
                  <c:v>0.1334175475785635</c:v>
                </c:pt>
                <c:pt idx="724">
                  <c:v>0.1276096184890485</c:v>
                </c:pt>
                <c:pt idx="725">
                  <c:v>0.1379482493247537</c:v>
                </c:pt>
                <c:pt idx="726">
                  <c:v>0.1379482493247537</c:v>
                </c:pt>
                <c:pt idx="727">
                  <c:v>0.1379482493247537</c:v>
                </c:pt>
                <c:pt idx="728">
                  <c:v>0.14797889931976638</c:v>
                </c:pt>
                <c:pt idx="729">
                  <c:v>0.14152997861434646</c:v>
                </c:pt>
                <c:pt idx="730">
                  <c:v>0.1407604401665148</c:v>
                </c:pt>
                <c:pt idx="731">
                  <c:v>0.13009217864054312</c:v>
                </c:pt>
                <c:pt idx="732">
                  <c:v>0.13490929984529632</c:v>
                </c:pt>
                <c:pt idx="733">
                  <c:v>0.13490929984529632</c:v>
                </c:pt>
                <c:pt idx="734">
                  <c:v>0.13490929984529632</c:v>
                </c:pt>
                <c:pt idx="735">
                  <c:v>0.14768925112831943</c:v>
                </c:pt>
                <c:pt idx="736">
                  <c:v>0.14572321538798216</c:v>
                </c:pt>
                <c:pt idx="737">
                  <c:v>0.1536696494356089</c:v>
                </c:pt>
                <c:pt idx="738">
                  <c:v>0.16726024291765595</c:v>
                </c:pt>
                <c:pt idx="739">
                  <c:v>0.12445613261588728</c:v>
                </c:pt>
                <c:pt idx="740">
                  <c:v>0.12445613261588728</c:v>
                </c:pt>
                <c:pt idx="741">
                  <c:v>0.12445613261588728</c:v>
                </c:pt>
                <c:pt idx="742">
                  <c:v>0.11903205998901334</c:v>
                </c:pt>
                <c:pt idx="743">
                  <c:v>0.12424639184302477</c:v>
                </c:pt>
                <c:pt idx="744">
                  <c:v>0.1184085959770198</c:v>
                </c:pt>
                <c:pt idx="745">
                  <c:v>0.11270788093646633</c:v>
                </c:pt>
                <c:pt idx="746">
                  <c:v>0.11649170252720986</c:v>
                </c:pt>
                <c:pt idx="747">
                  <c:v>0.11649170252720986</c:v>
                </c:pt>
                <c:pt idx="748">
                  <c:v>0.11649170252720986</c:v>
                </c:pt>
                <c:pt idx="749">
                  <c:v>0.11039744590141964</c:v>
                </c:pt>
                <c:pt idx="750">
                  <c:v>0.10634625661049779</c:v>
                </c:pt>
                <c:pt idx="751">
                  <c:v>0.10480331351558347</c:v>
                </c:pt>
                <c:pt idx="752">
                  <c:v>0.1020730054601624</c:v>
                </c:pt>
                <c:pt idx="753">
                  <c:v>0.11055634843578943</c:v>
                </c:pt>
                <c:pt idx="754">
                  <c:v>0.11055634843578943</c:v>
                </c:pt>
                <c:pt idx="755">
                  <c:v>0.11055634843578943</c:v>
                </c:pt>
                <c:pt idx="756">
                  <c:v>0.11339079100815841</c:v>
                </c:pt>
                <c:pt idx="757">
                  <c:v>0.09744416080827434</c:v>
                </c:pt>
                <c:pt idx="758">
                  <c:v>0.11082821694802103</c:v>
                </c:pt>
                <c:pt idx="759">
                  <c:v>0.11051284301163933</c:v>
                </c:pt>
                <c:pt idx="760">
                  <c:v>0.13073138082572466</c:v>
                </c:pt>
                <c:pt idx="761">
                  <c:v>0.13073138082572466</c:v>
                </c:pt>
                <c:pt idx="762">
                  <c:v>0.13073138082572466</c:v>
                </c:pt>
                <c:pt idx="763">
                  <c:v>0.13157378215784687</c:v>
                </c:pt>
                <c:pt idx="764">
                  <c:v>0.15802730995858205</c:v>
                </c:pt>
                <c:pt idx="765">
                  <c:v>0.16554079358183715</c:v>
                </c:pt>
                <c:pt idx="766">
                  <c:v>0.16754871574441976</c:v>
                </c:pt>
                <c:pt idx="767">
                  <c:v>0.14892609077205377</c:v>
                </c:pt>
                <c:pt idx="768">
                  <c:v>0.14892609077205377</c:v>
                </c:pt>
                <c:pt idx="769">
                  <c:v>0.14892609077205377</c:v>
                </c:pt>
                <c:pt idx="770">
                  <c:v>0.14897709956505922</c:v>
                </c:pt>
                <c:pt idx="771">
                  <c:v>0.14549653397797235</c:v>
                </c:pt>
                <c:pt idx="772">
                  <c:v>0.12852974685254548</c:v>
                </c:pt>
                <c:pt idx="773">
                  <c:v>0.1287549580815588</c:v>
                </c:pt>
                <c:pt idx="774">
                  <c:v>0.10874835672042882</c:v>
                </c:pt>
                <c:pt idx="775">
                  <c:v>0.10874835672042882</c:v>
                </c:pt>
                <c:pt idx="776">
                  <c:v>0.10874835672042882</c:v>
                </c:pt>
                <c:pt idx="777">
                  <c:v>0.11370302330259863</c:v>
                </c:pt>
                <c:pt idx="778">
                  <c:v>0.1255216726031474</c:v>
                </c:pt>
                <c:pt idx="779">
                  <c:v>0.1056343346701425</c:v>
                </c:pt>
                <c:pt idx="780">
                  <c:v>0.10210718534822738</c:v>
                </c:pt>
                <c:pt idx="781">
                  <c:v>0.1040670171932141</c:v>
                </c:pt>
                <c:pt idx="782">
                  <c:v>0.1040670171932141</c:v>
                </c:pt>
                <c:pt idx="783">
                  <c:v>0.1040670171932141</c:v>
                </c:pt>
                <c:pt idx="784">
                  <c:v>0.10205540321469808</c:v>
                </c:pt>
                <c:pt idx="785">
                  <c:v>0.1034625869520025</c:v>
                </c:pt>
                <c:pt idx="786">
                  <c:v>0.11365177245823976</c:v>
                </c:pt>
                <c:pt idx="787">
                  <c:v>0.1369151013636647</c:v>
                </c:pt>
                <c:pt idx="788">
                  <c:v>0.15050018399097365</c:v>
                </c:pt>
                <c:pt idx="789">
                  <c:v>0.15050018399097365</c:v>
                </c:pt>
                <c:pt idx="790">
                  <c:v>0.15050018399097365</c:v>
                </c:pt>
                <c:pt idx="791">
                  <c:v>0.15275701227969685</c:v>
                </c:pt>
                <c:pt idx="792">
                  <c:v>0.1611704192128045</c:v>
                </c:pt>
                <c:pt idx="793">
                  <c:v>0.18017617351751714</c:v>
                </c:pt>
                <c:pt idx="794">
                  <c:v>0.1875967786677455</c:v>
                </c:pt>
                <c:pt idx="795">
                  <c:v>0.20927332256135345</c:v>
                </c:pt>
                <c:pt idx="796">
                  <c:v>0.20927332256135345</c:v>
                </c:pt>
                <c:pt idx="797">
                  <c:v>0.20927332256135345</c:v>
                </c:pt>
                <c:pt idx="798">
                  <c:v>0.20899191361156877</c:v>
                </c:pt>
                <c:pt idx="799">
                  <c:v>0.23924042482929986</c:v>
                </c:pt>
                <c:pt idx="800">
                  <c:v>0.24663375299788215</c:v>
                </c:pt>
                <c:pt idx="801">
                  <c:v>0.25114033894059595</c:v>
                </c:pt>
                <c:pt idx="802">
                  <c:v>0.2632313022082482</c:v>
                </c:pt>
                <c:pt idx="803">
                  <c:v>0.2632313022082482</c:v>
                </c:pt>
                <c:pt idx="804">
                  <c:v>0.2632313022082482</c:v>
                </c:pt>
                <c:pt idx="805">
                  <c:v>0.27439155875145405</c:v>
                </c:pt>
                <c:pt idx="806">
                  <c:v>0.2709261900804132</c:v>
                </c:pt>
                <c:pt idx="807">
                  <c:v>0.2706682547492565</c:v>
                </c:pt>
                <c:pt idx="808">
                  <c:v>0.27441539946097704</c:v>
                </c:pt>
                <c:pt idx="809">
                  <c:v>0.27511261179452107</c:v>
                </c:pt>
                <c:pt idx="810">
                  <c:v>0.27511261179452107</c:v>
                </c:pt>
                <c:pt idx="811">
                  <c:v>0.27511261179452107</c:v>
                </c:pt>
                <c:pt idx="812">
                  <c:v>0.27754099685296274</c:v>
                </c:pt>
                <c:pt idx="813">
                  <c:v>0.2868034615504049</c:v>
                </c:pt>
                <c:pt idx="814">
                  <c:v>0.28988313414270817</c:v>
                </c:pt>
                <c:pt idx="815">
                  <c:v>0.2939466090460754</c:v>
                </c:pt>
                <c:pt idx="816">
                  <c:v>0.294960383250104</c:v>
                </c:pt>
                <c:pt idx="817">
                  <c:v>0.294960383250104</c:v>
                </c:pt>
                <c:pt idx="818">
                  <c:v>0.294960383250104</c:v>
                </c:pt>
                <c:pt idx="819">
                  <c:v>0.2811233813282292</c:v>
                </c:pt>
                <c:pt idx="820">
                  <c:v>0.28331939333098033</c:v>
                </c:pt>
                <c:pt idx="821">
                  <c:v>0.28716413755235015</c:v>
                </c:pt>
                <c:pt idx="822">
                  <c:v>0.30366222763882966</c:v>
                </c:pt>
                <c:pt idx="823">
                  <c:v>0.32355439173466793</c:v>
                </c:pt>
                <c:pt idx="824">
                  <c:v>0.32355439173466793</c:v>
                </c:pt>
                <c:pt idx="825">
                  <c:v>0.32355439173466793</c:v>
                </c:pt>
                <c:pt idx="826">
                  <c:v>0.31018855147585556</c:v>
                </c:pt>
                <c:pt idx="827">
                  <c:v>0.33020195094028715</c:v>
                </c:pt>
                <c:pt idx="828">
                  <c:v>0.3485295934145336</c:v>
                </c:pt>
                <c:pt idx="829">
                  <c:v>0.362785489700282</c:v>
                </c:pt>
                <c:pt idx="830">
                  <c:v>0.37289625612860466</c:v>
                </c:pt>
                <c:pt idx="831">
                  <c:v>0.37289625612860466</c:v>
                </c:pt>
                <c:pt idx="832">
                  <c:v>0.37289625612860466</c:v>
                </c:pt>
                <c:pt idx="833">
                  <c:v>0.40435356677037104</c:v>
                </c:pt>
                <c:pt idx="834">
                  <c:v>0.41367158913112023</c:v>
                </c:pt>
                <c:pt idx="835">
                  <c:v>0.40795115817713956</c:v>
                </c:pt>
                <c:pt idx="836">
                  <c:v>0.4314469381285786</c:v>
                </c:pt>
                <c:pt idx="837">
                  <c:v>0.4295547872803225</c:v>
                </c:pt>
                <c:pt idx="838">
                  <c:v>0.4295547872803225</c:v>
                </c:pt>
                <c:pt idx="839">
                  <c:v>0.4295547872803225</c:v>
                </c:pt>
                <c:pt idx="840">
                  <c:v>0.435776527374103</c:v>
                </c:pt>
                <c:pt idx="841">
                  <c:v>0.44006826853855463</c:v>
                </c:pt>
                <c:pt idx="842">
                  <c:v>0.45065317842899444</c:v>
                </c:pt>
                <c:pt idx="843">
                  <c:v>0.4600995472298548</c:v>
                </c:pt>
                <c:pt idx="844">
                  <c:v>0.4696970664177418</c:v>
                </c:pt>
                <c:pt idx="845">
                  <c:v>0.4696970664177418</c:v>
                </c:pt>
                <c:pt idx="846">
                  <c:v>0.4696970664177418</c:v>
                </c:pt>
                <c:pt idx="847">
                  <c:v>0.4678069279068633</c:v>
                </c:pt>
                <c:pt idx="848">
                  <c:v>0.45032486464178345</c:v>
                </c:pt>
                <c:pt idx="849">
                  <c:v>0.4304150965975837</c:v>
                </c:pt>
                <c:pt idx="850">
                  <c:v>0.4327878039012443</c:v>
                </c:pt>
                <c:pt idx="851">
                  <c:v>0.43675602914121847</c:v>
                </c:pt>
                <c:pt idx="852">
                  <c:v>0.43675602914121847</c:v>
                </c:pt>
                <c:pt idx="853">
                  <c:v>0.43675602914121847</c:v>
                </c:pt>
                <c:pt idx="854">
                  <c:v>0.4549095925016464</c:v>
                </c:pt>
                <c:pt idx="855">
                  <c:v>0.4640335910009181</c:v>
                </c:pt>
                <c:pt idx="856">
                  <c:v>0.47166009397976594</c:v>
                </c:pt>
                <c:pt idx="857">
                  <c:v>0.47215728495529286</c:v>
                </c:pt>
                <c:pt idx="858">
                  <c:v>0.4760357809229303</c:v>
                </c:pt>
                <c:pt idx="859">
                  <c:v>0.4760357809229303</c:v>
                </c:pt>
                <c:pt idx="860">
                  <c:v>0.4760357809229303</c:v>
                </c:pt>
                <c:pt idx="861">
                  <c:v>0.4724064865640727</c:v>
                </c:pt>
                <c:pt idx="862">
                  <c:v>0.47597335063150314</c:v>
                </c:pt>
                <c:pt idx="863">
                  <c:v>0.472317431837874</c:v>
                </c:pt>
                <c:pt idx="864">
                  <c:v>0.48824423562368024</c:v>
                </c:pt>
                <c:pt idx="865">
                  <c:v>0.507961829580162</c:v>
                </c:pt>
                <c:pt idx="866">
                  <c:v>0.507961829580162</c:v>
                </c:pt>
                <c:pt idx="867">
                  <c:v>0.507961829580162</c:v>
                </c:pt>
                <c:pt idx="868">
                  <c:v>0.5134131311318355</c:v>
                </c:pt>
                <c:pt idx="869">
                  <c:v>0.5312300994067332</c:v>
                </c:pt>
                <c:pt idx="870">
                  <c:v>0.546897982610919</c:v>
                </c:pt>
                <c:pt idx="871">
                  <c:v>0.5600127532468664</c:v>
                </c:pt>
                <c:pt idx="872">
                  <c:v>0.565269845681657</c:v>
                </c:pt>
                <c:pt idx="873">
                  <c:v>0.565269845681657</c:v>
                </c:pt>
                <c:pt idx="874">
                  <c:v>0.565269845681657</c:v>
                </c:pt>
                <c:pt idx="875">
                  <c:v>0.5827178371321509</c:v>
                </c:pt>
                <c:pt idx="876">
                  <c:v>0.5875027818176732</c:v>
                </c:pt>
                <c:pt idx="877">
                  <c:v>0.5703529855061347</c:v>
                </c:pt>
                <c:pt idx="878">
                  <c:v>0.5837735204086121</c:v>
                </c:pt>
                <c:pt idx="879">
                  <c:v>0.6356589511664519</c:v>
                </c:pt>
                <c:pt idx="880">
                  <c:v>0.6356589511664519</c:v>
                </c:pt>
                <c:pt idx="881">
                  <c:v>0.6356589511664519</c:v>
                </c:pt>
                <c:pt idx="882">
                  <c:v>0.6448070635182575</c:v>
                </c:pt>
                <c:pt idx="883">
                  <c:v>0.633028413276399</c:v>
                </c:pt>
                <c:pt idx="884">
                  <c:v>0.6537192113415993</c:v>
                </c:pt>
                <c:pt idx="885">
                  <c:v>0.6471088813221408</c:v>
                </c:pt>
                <c:pt idx="886">
                  <c:v>0.6580614675051057</c:v>
                </c:pt>
                <c:pt idx="887">
                  <c:v>0.6580614675051057</c:v>
                </c:pt>
                <c:pt idx="888">
                  <c:v>0.6580614675051057</c:v>
                </c:pt>
                <c:pt idx="889">
                  <c:v>0.6568501360392387</c:v>
                </c:pt>
                <c:pt idx="890">
                  <c:v>0.6313598863823822</c:v>
                </c:pt>
                <c:pt idx="891">
                  <c:v>0.6432213209559423</c:v>
                </c:pt>
                <c:pt idx="892">
                  <c:v>0.648965866678576</c:v>
                </c:pt>
                <c:pt idx="893">
                  <c:v>0.6196849060851828</c:v>
                </c:pt>
                <c:pt idx="894">
                  <c:v>0.6196849060851828</c:v>
                </c:pt>
                <c:pt idx="895">
                  <c:v>0.6196849060851828</c:v>
                </c:pt>
                <c:pt idx="896">
                  <c:v>0.5193714485237284</c:v>
                </c:pt>
                <c:pt idx="897">
                  <c:v>0.3886995281933161</c:v>
                </c:pt>
                <c:pt idx="898">
                  <c:v>0.38089244837217784</c:v>
                </c:pt>
                <c:pt idx="899">
                  <c:v>0.4361569270599406</c:v>
                </c:pt>
                <c:pt idx="900">
                  <c:v>0.434958992280559</c:v>
                </c:pt>
                <c:pt idx="901">
                  <c:v>0.434958992280559</c:v>
                </c:pt>
                <c:pt idx="902">
                  <c:v>0.434958992280559</c:v>
                </c:pt>
                <c:pt idx="903">
                  <c:v>0.4483322651591368</c:v>
                </c:pt>
                <c:pt idx="904">
                  <c:v>0.4533401775310659</c:v>
                </c:pt>
                <c:pt idx="905">
                  <c:v>0.46220768846225035</c:v>
                </c:pt>
                <c:pt idx="906">
                  <c:v>0.47164034520010856</c:v>
                </c:pt>
                <c:pt idx="907">
                  <c:v>0.5193143612449118</c:v>
                </c:pt>
                <c:pt idx="908">
                  <c:v>0.5193143612449118</c:v>
                </c:pt>
                <c:pt idx="909">
                  <c:v>0.5193143612449118</c:v>
                </c:pt>
                <c:pt idx="910">
                  <c:v>0.5213166006802761</c:v>
                </c:pt>
                <c:pt idx="911">
                  <c:v>0.5050115288370152</c:v>
                </c:pt>
                <c:pt idx="912">
                  <c:v>0.5402069276389434</c:v>
                </c:pt>
                <c:pt idx="913">
                  <c:v>0.5707992228099488</c:v>
                </c:pt>
                <c:pt idx="914">
                  <c:v>0.5638660572543233</c:v>
                </c:pt>
                <c:pt idx="915">
                  <c:v>0.5638660572543233</c:v>
                </c:pt>
                <c:pt idx="916">
                  <c:v>0.5638660572543233</c:v>
                </c:pt>
                <c:pt idx="917">
                  <c:v>0.5557510776980439</c:v>
                </c:pt>
                <c:pt idx="918">
                  <c:v>0.6076178249188124</c:v>
                </c:pt>
                <c:pt idx="919">
                  <c:v>0.6160497762705395</c:v>
                </c:pt>
                <c:pt idx="920">
                  <c:v>0.6034028470614683</c:v>
                </c:pt>
                <c:pt idx="921">
                  <c:v>0.6083898659463778</c:v>
                </c:pt>
                <c:pt idx="922">
                  <c:v>0.6083898659463778</c:v>
                </c:pt>
                <c:pt idx="923">
                  <c:v>0.6083898659463778</c:v>
                </c:pt>
                <c:pt idx="924">
                  <c:v>0.6327156438160941</c:v>
                </c:pt>
                <c:pt idx="925">
                  <c:v>0.6733078735849802</c:v>
                </c:pt>
                <c:pt idx="926">
                  <c:v>0.705794470722255</c:v>
                </c:pt>
                <c:pt idx="927">
                  <c:v>0.7276209589110687</c:v>
                </c:pt>
                <c:pt idx="928">
                  <c:v>0.7479273357243788</c:v>
                </c:pt>
                <c:pt idx="929">
                  <c:v>0.7479273357243788</c:v>
                </c:pt>
                <c:pt idx="930">
                  <c:v>0.7479273357243788</c:v>
                </c:pt>
                <c:pt idx="931">
                  <c:v>0.7484932693125554</c:v>
                </c:pt>
                <c:pt idx="932">
                  <c:v>0.7775993937345278</c:v>
                </c:pt>
                <c:pt idx="933">
                  <c:v>0.6832191172871203</c:v>
                </c:pt>
                <c:pt idx="934">
                  <c:v>0.6706662271402986</c:v>
                </c:pt>
                <c:pt idx="935">
                  <c:v>0.6417728067660504</c:v>
                </c:pt>
                <c:pt idx="936">
                  <c:v>0.6417728067660504</c:v>
                </c:pt>
                <c:pt idx="937">
                  <c:v>0.6417728067660504</c:v>
                </c:pt>
                <c:pt idx="938">
                  <c:v>0.6545822603269089</c:v>
                </c:pt>
                <c:pt idx="939">
                  <c:v>0.651766287855621</c:v>
                </c:pt>
                <c:pt idx="940">
                  <c:v>0.6436812232069749</c:v>
                </c:pt>
                <c:pt idx="941">
                  <c:v>0.6234238223731481</c:v>
                </c:pt>
                <c:pt idx="942">
                  <c:v>0.6392891651244696</c:v>
                </c:pt>
                <c:pt idx="943">
                  <c:v>0.6392891651244696</c:v>
                </c:pt>
                <c:pt idx="944">
                  <c:v>0.6392891651244696</c:v>
                </c:pt>
                <c:pt idx="945">
                  <c:v>0.6374144496273684</c:v>
                </c:pt>
                <c:pt idx="946">
                  <c:v>0.6293791685229722</c:v>
                </c:pt>
                <c:pt idx="947">
                  <c:v>0.644599370361413</c:v>
                </c:pt>
                <c:pt idx="948">
                  <c:v>0.6656320212472273</c:v>
                </c:pt>
                <c:pt idx="949">
                  <c:v>0.6424110077645295</c:v>
                </c:pt>
                <c:pt idx="950">
                  <c:v>0.6424110077645295</c:v>
                </c:pt>
                <c:pt idx="951">
                  <c:v>0.6424110077645295</c:v>
                </c:pt>
                <c:pt idx="952">
                  <c:v>0.611709938351261</c:v>
                </c:pt>
                <c:pt idx="953">
                  <c:v>0.6134293910613455</c:v>
                </c:pt>
                <c:pt idx="954">
                  <c:v>0.5957940225710672</c:v>
                </c:pt>
                <c:pt idx="955">
                  <c:v>0.6037403024459835</c:v>
                </c:pt>
                <c:pt idx="956">
                  <c:v>0.5911758636074811</c:v>
                </c:pt>
                <c:pt idx="957">
                  <c:v>0.5911758636074811</c:v>
                </c:pt>
                <c:pt idx="958">
                  <c:v>0.5911758636074811</c:v>
                </c:pt>
                <c:pt idx="959">
                  <c:v>0.6179818498640224</c:v>
                </c:pt>
                <c:pt idx="960">
                  <c:v>0.6590794248831069</c:v>
                </c:pt>
                <c:pt idx="961">
                  <c:v>0.6496223378976631</c:v>
                </c:pt>
                <c:pt idx="962">
                  <c:v>0.6571868082261687</c:v>
                </c:pt>
                <c:pt idx="963">
                  <c:v>0.7038264884803744</c:v>
                </c:pt>
                <c:pt idx="964">
                  <c:v>0.7038264884803744</c:v>
                </c:pt>
                <c:pt idx="965">
                  <c:v>0.7038264884803744</c:v>
                </c:pt>
                <c:pt idx="966">
                  <c:v>0.719935803193533</c:v>
                </c:pt>
                <c:pt idx="967">
                  <c:v>0.70314535155459</c:v>
                </c:pt>
                <c:pt idx="968">
                  <c:v>0.6998582842156638</c:v>
                </c:pt>
                <c:pt idx="969">
                  <c:v>0.7207234841986383</c:v>
                </c:pt>
                <c:pt idx="970">
                  <c:v>0.7605499114603662</c:v>
                </c:pt>
                <c:pt idx="971">
                  <c:v>0.7605499114603662</c:v>
                </c:pt>
                <c:pt idx="972">
                  <c:v>0.7605499114603662</c:v>
                </c:pt>
                <c:pt idx="973">
                  <c:v>0.7854507341697756</c:v>
                </c:pt>
                <c:pt idx="974">
                  <c:v>0.7977103593183552</c:v>
                </c:pt>
                <c:pt idx="975">
                  <c:v>0.795953618900624</c:v>
                </c:pt>
                <c:pt idx="976">
                  <c:v>0.8146467564702147</c:v>
                </c:pt>
                <c:pt idx="977">
                  <c:v>0.8245940564175698</c:v>
                </c:pt>
                <c:pt idx="978">
                  <c:v>0.8245940564175698</c:v>
                </c:pt>
                <c:pt idx="979">
                  <c:v>0.8245940564175698</c:v>
                </c:pt>
                <c:pt idx="980">
                  <c:v>0.8315723604980576</c:v>
                </c:pt>
                <c:pt idx="981">
                  <c:v>0.7366672608639178</c:v>
                </c:pt>
                <c:pt idx="982">
                  <c:v>0.712109152400241</c:v>
                </c:pt>
                <c:pt idx="983">
                  <c:v>0.7450513570329245</c:v>
                </c:pt>
                <c:pt idx="984">
                  <c:v>0.7173341473989436</c:v>
                </c:pt>
                <c:pt idx="985">
                  <c:v>0.7173341473989436</c:v>
                </c:pt>
                <c:pt idx="986">
                  <c:v>0.7173341473989436</c:v>
                </c:pt>
                <c:pt idx="987">
                  <c:v>0.7328199678976699</c:v>
                </c:pt>
                <c:pt idx="988">
                  <c:v>0.7623149391562309</c:v>
                </c:pt>
                <c:pt idx="989">
                  <c:v>0.760335415868866</c:v>
                </c:pt>
                <c:pt idx="990">
                  <c:v>0.7900647384037025</c:v>
                </c:pt>
                <c:pt idx="991">
                  <c:v>0.8409305895588208</c:v>
                </c:pt>
                <c:pt idx="992">
                  <c:v>0.8409305895588208</c:v>
                </c:pt>
                <c:pt idx="993">
                  <c:v>0.8409305895588208</c:v>
                </c:pt>
                <c:pt idx="994">
                  <c:v>0.8614904834137085</c:v>
                </c:pt>
                <c:pt idx="995">
                  <c:v>0.891822965208283</c:v>
                </c:pt>
                <c:pt idx="996">
                  <c:v>0.8848054445212636</c:v>
                </c:pt>
                <c:pt idx="997">
                  <c:v>0.8797315372015495</c:v>
                </c:pt>
                <c:pt idx="998">
                  <c:v>0.8728358770500906</c:v>
                </c:pt>
                <c:pt idx="999">
                  <c:v>0.8728358770500906</c:v>
                </c:pt>
                <c:pt idx="1000">
                  <c:v>0.8728358770500906</c:v>
                </c:pt>
                <c:pt idx="1001">
                  <c:v>0.8016154410520495</c:v>
                </c:pt>
                <c:pt idx="1002">
                  <c:v>0.8177887912916932</c:v>
                </c:pt>
                <c:pt idx="1003">
                  <c:v>0.8656639225628784</c:v>
                </c:pt>
                <c:pt idx="1004">
                  <c:v>0.8727970900354456</c:v>
                </c:pt>
                <c:pt idx="1005">
                  <c:v>0.8624353041435351</c:v>
                </c:pt>
                <c:pt idx="1006">
                  <c:v>0.8624353041435351</c:v>
                </c:pt>
                <c:pt idx="1007">
                  <c:v>0.8624353041435351</c:v>
                </c:pt>
                <c:pt idx="1008">
                  <c:v>0.8906060302485006</c:v>
                </c:pt>
                <c:pt idx="1009">
                  <c:v>0.8772733599379612</c:v>
                </c:pt>
                <c:pt idx="1010">
                  <c:v>0.8944183323161472</c:v>
                </c:pt>
                <c:pt idx="1011">
                  <c:v>0.9121347960413075</c:v>
                </c:pt>
                <c:pt idx="1012">
                  <c:v>0.9049440679589213</c:v>
                </c:pt>
                <c:pt idx="1013">
                  <c:v>0.9049440679589213</c:v>
                </c:pt>
                <c:pt idx="1014">
                  <c:v>0.9049440679589213</c:v>
                </c:pt>
                <c:pt idx="1015">
                  <c:v>0.8963608424515521</c:v>
                </c:pt>
                <c:pt idx="1016">
                  <c:v>0.8866351560858245</c:v>
                </c:pt>
                <c:pt idx="1017">
                  <c:v>0.8925561702561295</c:v>
                </c:pt>
                <c:pt idx="1018">
                  <c:v>0.8513407131011204</c:v>
                </c:pt>
                <c:pt idx="1019">
                  <c:v>0.8221601322431669</c:v>
                </c:pt>
                <c:pt idx="1020">
                  <c:v>0.8221601322431669</c:v>
                </c:pt>
                <c:pt idx="1021">
                  <c:v>0.8221601322431669</c:v>
                </c:pt>
                <c:pt idx="1022">
                  <c:v>0.7941962823454476</c:v>
                </c:pt>
                <c:pt idx="1023">
                  <c:v>0.8212717923166171</c:v>
                </c:pt>
                <c:pt idx="1024">
                  <c:v>0.8494127204835336</c:v>
                </c:pt>
                <c:pt idx="1025">
                  <c:v>0.8457601548813425</c:v>
                </c:pt>
                <c:pt idx="1026">
                  <c:v>0.8226010862741644</c:v>
                </c:pt>
                <c:pt idx="1027">
                  <c:v>0.8226010862741644</c:v>
                </c:pt>
                <c:pt idx="1028">
                  <c:v>0.8226010862741644</c:v>
                </c:pt>
                <c:pt idx="1029">
                  <c:v>0.7106500129755637</c:v>
                </c:pt>
                <c:pt idx="1030">
                  <c:v>0.7118727851394708</c:v>
                </c:pt>
                <c:pt idx="1031">
                  <c:v>0.7479794748980617</c:v>
                </c:pt>
                <c:pt idx="1032">
                  <c:v>0.7582788857664018</c:v>
                </c:pt>
                <c:pt idx="1033">
                  <c:v>0.7704993138591074</c:v>
                </c:pt>
                <c:pt idx="1034">
                  <c:v>0.7704993138591074</c:v>
                </c:pt>
                <c:pt idx="1035">
                  <c:v>0.7704993138591074</c:v>
                </c:pt>
                <c:pt idx="1036">
                  <c:v>0.7804720980341981</c:v>
                </c:pt>
                <c:pt idx="1037">
                  <c:v>0.7881362037249835</c:v>
                </c:pt>
                <c:pt idx="1038">
                  <c:v>0.8194412410296141</c:v>
                </c:pt>
                <c:pt idx="1039">
                  <c:v>0.8313373187743449</c:v>
                </c:pt>
                <c:pt idx="1040">
                  <c:v>0.8437816746135098</c:v>
                </c:pt>
                <c:pt idx="1041">
                  <c:v>0.8437816746135098</c:v>
                </c:pt>
                <c:pt idx="1042">
                  <c:v>0.8437816746135098</c:v>
                </c:pt>
                <c:pt idx="1043">
                  <c:v>0.8486411753997454</c:v>
                </c:pt>
                <c:pt idx="1044">
                  <c:v>0.8521543902484985</c:v>
                </c:pt>
                <c:pt idx="1045">
                  <c:v>0.8141061158965792</c:v>
                </c:pt>
                <c:pt idx="1046">
                  <c:v>0.8218558808325538</c:v>
                </c:pt>
                <c:pt idx="1047">
                  <c:v>0.8331107830095008</c:v>
                </c:pt>
                <c:pt idx="1048">
                  <c:v>0.8331107830095008</c:v>
                </c:pt>
                <c:pt idx="1049">
                  <c:v>0.8331107830095008</c:v>
                </c:pt>
                <c:pt idx="1050">
                  <c:v>0.8016187854270593</c:v>
                </c:pt>
                <c:pt idx="1051">
                  <c:v>0.8220919451295317</c:v>
                </c:pt>
                <c:pt idx="1052">
                  <c:v>0.7627283572502144</c:v>
                </c:pt>
                <c:pt idx="1053">
                  <c:v>0.7523436128492409</c:v>
                </c:pt>
                <c:pt idx="1054">
                  <c:v>0.7747812507775491</c:v>
                </c:pt>
                <c:pt idx="1055">
                  <c:v>0.7747812507775491</c:v>
                </c:pt>
                <c:pt idx="1056">
                  <c:v>0.7747812507775491</c:v>
                </c:pt>
                <c:pt idx="1057">
                  <c:v>0.7718870810193452</c:v>
                </c:pt>
                <c:pt idx="1058">
                  <c:v>0.7438185165525706</c:v>
                </c:pt>
                <c:pt idx="1059">
                  <c:v>0.8290633711079256</c:v>
                </c:pt>
                <c:pt idx="1060">
                  <c:v>0.768257797109702</c:v>
                </c:pt>
                <c:pt idx="1061">
                  <c:v>0.7131965039939596</c:v>
                </c:pt>
                <c:pt idx="1062">
                  <c:v>0.7131965039939596</c:v>
                </c:pt>
                <c:pt idx="1063">
                  <c:v>0.7131965039939596</c:v>
                </c:pt>
                <c:pt idx="1064">
                  <c:v>0.6504839534153053</c:v>
                </c:pt>
                <c:pt idx="1065">
                  <c:v>0.6954109015611423</c:v>
                </c:pt>
                <c:pt idx="1066">
                  <c:v>0.6852972916667694</c:v>
                </c:pt>
                <c:pt idx="1067">
                  <c:v>0.7324771397211034</c:v>
                </c:pt>
                <c:pt idx="1068">
                  <c:v>0.7526128999970656</c:v>
                </c:pt>
                <c:pt idx="1069">
                  <c:v>0.7526128999970656</c:v>
                </c:pt>
                <c:pt idx="1070">
                  <c:v>0.7526128999970656</c:v>
                </c:pt>
                <c:pt idx="1071">
                  <c:v>0.7591284866435075</c:v>
                </c:pt>
                <c:pt idx="1072">
                  <c:v>0.8043345105426043</c:v>
                </c:pt>
                <c:pt idx="1073">
                  <c:v>0.8031422643766777</c:v>
                </c:pt>
                <c:pt idx="1074">
                  <c:v>0.8438395727761441</c:v>
                </c:pt>
                <c:pt idx="1075">
                  <c:v>0.8581013385079872</c:v>
                </c:pt>
                <c:pt idx="1076">
                  <c:v>0.8581013385079872</c:v>
                </c:pt>
                <c:pt idx="1077">
                  <c:v>0.8581013385079872</c:v>
                </c:pt>
                <c:pt idx="1078">
                  <c:v>0.8687036926883955</c:v>
                </c:pt>
                <c:pt idx="1079">
                  <c:v>0.8232096701329958</c:v>
                </c:pt>
                <c:pt idx="1080">
                  <c:v>0.8382235911946714</c:v>
                </c:pt>
                <c:pt idx="1081">
                  <c:v>0.832001807208474</c:v>
                </c:pt>
                <c:pt idx="1082">
                  <c:v>0.8667691415031347</c:v>
                </c:pt>
                <c:pt idx="1083">
                  <c:v>0.8667691415031347</c:v>
                </c:pt>
                <c:pt idx="1084">
                  <c:v>0.8667691415031347</c:v>
                </c:pt>
                <c:pt idx="1085">
                  <c:v>0.8528843696984982</c:v>
                </c:pt>
                <c:pt idx="1086">
                  <c:v>0.8763635487967958</c:v>
                </c:pt>
                <c:pt idx="1087">
                  <c:v>0.8512258391201559</c:v>
                </c:pt>
                <c:pt idx="1088">
                  <c:v>0.8139588926376535</c:v>
                </c:pt>
                <c:pt idx="1089">
                  <c:v>0.8390426629110859</c:v>
                </c:pt>
                <c:pt idx="1090">
                  <c:v>0.8390426629110859</c:v>
                </c:pt>
                <c:pt idx="1091">
                  <c:v>0.8390426629110859</c:v>
                </c:pt>
                <c:pt idx="1092">
                  <c:v>0.8378364081120409</c:v>
                </c:pt>
                <c:pt idx="1093">
                  <c:v>0.7774787708223707</c:v>
                </c:pt>
                <c:pt idx="1094">
                  <c:v>0.7656259301505084</c:v>
                </c:pt>
                <c:pt idx="1095">
                  <c:v>0.7741282587702067</c:v>
                </c:pt>
                <c:pt idx="1096">
                  <c:v>0.7361218721292591</c:v>
                </c:pt>
                <c:pt idx="1097">
                  <c:v>0.7361218721292591</c:v>
                </c:pt>
                <c:pt idx="1098">
                  <c:v>0.7361218721292591</c:v>
                </c:pt>
                <c:pt idx="1099">
                  <c:v>0.7638265158288546</c:v>
                </c:pt>
                <c:pt idx="1100">
                  <c:v>0.7619524453348225</c:v>
                </c:pt>
                <c:pt idx="1101">
                  <c:v>0.8178008467784963</c:v>
                </c:pt>
                <c:pt idx="1102">
                  <c:v>0.8394674846385948</c:v>
                </c:pt>
                <c:pt idx="1103">
                  <c:v>0.8378907958936139</c:v>
                </c:pt>
                <c:pt idx="1104">
                  <c:v>0.8378907958936139</c:v>
                </c:pt>
                <c:pt idx="1105">
                  <c:v>0.8378907958936139</c:v>
                </c:pt>
                <c:pt idx="1106">
                  <c:v>0.8374285278729179</c:v>
                </c:pt>
                <c:pt idx="1107">
                  <c:v>0.8499642715054165</c:v>
                </c:pt>
                <c:pt idx="1108">
                  <c:v>0.8440018051027312</c:v>
                </c:pt>
                <c:pt idx="1109">
                  <c:v>0.8916821629132128</c:v>
                </c:pt>
                <c:pt idx="1110">
                  <c:v>0.849840282907055</c:v>
                </c:pt>
                <c:pt idx="1111">
                  <c:v>0.849840282907055</c:v>
                </c:pt>
                <c:pt idx="1112">
                  <c:v>0.849840282907055</c:v>
                </c:pt>
                <c:pt idx="1113">
                  <c:v>0.8832107847733093</c:v>
                </c:pt>
                <c:pt idx="1114">
                  <c:v>0.9159211593094918</c:v>
                </c:pt>
                <c:pt idx="1115">
                  <c:v>0.9205432751745857</c:v>
                </c:pt>
                <c:pt idx="1116">
                  <c:v>0.9569443913037277</c:v>
                </c:pt>
                <c:pt idx="1117">
                  <c:v>0.9310661061768415</c:v>
                </c:pt>
                <c:pt idx="1118">
                  <c:v>0.9310661061768415</c:v>
                </c:pt>
                <c:pt idx="1119">
                  <c:v>0.9310661061768415</c:v>
                </c:pt>
                <c:pt idx="1120">
                  <c:v>0.9380823398883957</c:v>
                </c:pt>
                <c:pt idx="1121">
                  <c:v>0.9083702536525575</c:v>
                </c:pt>
                <c:pt idx="1122">
                  <c:v>0.9072415813639749</c:v>
                </c:pt>
                <c:pt idx="1123">
                  <c:v>0.9047995758555516</c:v>
                </c:pt>
                <c:pt idx="1124">
                  <c:v>0.9499892735766973</c:v>
                </c:pt>
                <c:pt idx="1125">
                  <c:v>0.9499892735766973</c:v>
                </c:pt>
                <c:pt idx="1126">
                  <c:v>0.9499892735766973</c:v>
                </c:pt>
                <c:pt idx="1127">
                  <c:v>0.9597147152277592</c:v>
                </c:pt>
                <c:pt idx="1128">
                  <c:v>0.9658944113376702</c:v>
                </c:pt>
                <c:pt idx="1129">
                  <c:v>0.973975583101566</c:v>
                </c:pt>
                <c:pt idx="1130">
                  <c:v>0.9744835339622973</c:v>
                </c:pt>
                <c:pt idx="1131">
                  <c:v>1.0055341888681846</c:v>
                </c:pt>
                <c:pt idx="1132">
                  <c:v>1.0055341888681846</c:v>
                </c:pt>
                <c:pt idx="1133">
                  <c:v>1.0055341888681846</c:v>
                </c:pt>
                <c:pt idx="1134">
                  <c:v>1.004948171076275</c:v>
                </c:pt>
                <c:pt idx="1135">
                  <c:v>0.9649474270805882</c:v>
                </c:pt>
                <c:pt idx="1136">
                  <c:v>0.9786380557605174</c:v>
                </c:pt>
                <c:pt idx="1137">
                  <c:v>1.0020155404515734</c:v>
                </c:pt>
                <c:pt idx="1138">
                  <c:v>1.020733898104817</c:v>
                </c:pt>
                <c:pt idx="1139">
                  <c:v>1.020733898104817</c:v>
                </c:pt>
                <c:pt idx="1140">
                  <c:v>1.020733898104817</c:v>
                </c:pt>
                <c:pt idx="1141">
                  <c:v>1.0161938287351684</c:v>
                </c:pt>
                <c:pt idx="1142">
                  <c:v>1.0317758792541367</c:v>
                </c:pt>
                <c:pt idx="1143">
                  <c:v>1.0010795409904758</c:v>
                </c:pt>
                <c:pt idx="1144">
                  <c:v>0.999558505419706</c:v>
                </c:pt>
                <c:pt idx="1145">
                  <c:v>1.0187757063001035</c:v>
                </c:pt>
                <c:pt idx="1146">
                  <c:v>1.0187757063001035</c:v>
                </c:pt>
                <c:pt idx="1147">
                  <c:v>1.0187757063001035</c:v>
                </c:pt>
                <c:pt idx="1148">
                  <c:v>1.0125305788162562</c:v>
                </c:pt>
                <c:pt idx="1149">
                  <c:v>1.0359612216778706</c:v>
                </c:pt>
                <c:pt idx="1150">
                  <c:v>1.023916431471016</c:v>
                </c:pt>
                <c:pt idx="1151">
                  <c:v>0.9684966895161771</c:v>
                </c:pt>
                <c:pt idx="1152">
                  <c:v>1.0036026314060895</c:v>
                </c:pt>
                <c:pt idx="1153">
                  <c:v>1.0036026314060895</c:v>
                </c:pt>
                <c:pt idx="1154">
                  <c:v>1.0036026314060895</c:v>
                </c:pt>
                <c:pt idx="1155">
                  <c:v>1.0074326856052327</c:v>
                </c:pt>
                <c:pt idx="1156">
                  <c:v>1.035516996084898</c:v>
                </c:pt>
                <c:pt idx="1157">
                  <c:v>1.0700956353938076</c:v>
                </c:pt>
                <c:pt idx="1158">
                  <c:v>1.1062042555900238</c:v>
                </c:pt>
                <c:pt idx="1159">
                  <c:v>1.102231175277287</c:v>
                </c:pt>
                <c:pt idx="1160">
                  <c:v>1.102231175277287</c:v>
                </c:pt>
                <c:pt idx="1161">
                  <c:v>1.102231175277287</c:v>
                </c:pt>
                <c:pt idx="1162">
                  <c:v>1.129913879637778</c:v>
                </c:pt>
                <c:pt idx="1163">
                  <c:v>1.1012216806374906</c:v>
                </c:pt>
                <c:pt idx="1164">
                  <c:v>1.0978632609585843</c:v>
                </c:pt>
                <c:pt idx="1165">
                  <c:v>1.1033742672370455</c:v>
                </c:pt>
                <c:pt idx="1166">
                  <c:v>1.0770949371568062</c:v>
                </c:pt>
                <c:pt idx="1167">
                  <c:v>1.0770949371568062</c:v>
                </c:pt>
                <c:pt idx="1168">
                  <c:v>1.0770949371568062</c:v>
                </c:pt>
                <c:pt idx="1169">
                  <c:v>1.1008463976673006</c:v>
                </c:pt>
                <c:pt idx="1170">
                  <c:v>1.1108514103374154</c:v>
                </c:pt>
                <c:pt idx="1171">
                  <c:v>1.126875116583859</c:v>
                </c:pt>
                <c:pt idx="1172">
                  <c:v>1.1264102051649125</c:v>
                </c:pt>
                <c:pt idx="1173">
                  <c:v>1.1218633978603427</c:v>
                </c:pt>
                <c:pt idx="1174">
                  <c:v>1.1218633978603427</c:v>
                </c:pt>
                <c:pt idx="1175">
                  <c:v>1.1218633978603427</c:v>
                </c:pt>
                <c:pt idx="1176">
                  <c:v>1.1253850566656678</c:v>
                </c:pt>
                <c:pt idx="1177">
                  <c:v>1.120047520960124</c:v>
                </c:pt>
                <c:pt idx="1178">
                  <c:v>1.1080021634741333</c:v>
                </c:pt>
                <c:pt idx="1179">
                  <c:v>1.0976968375958283</c:v>
                </c:pt>
                <c:pt idx="1180">
                  <c:v>1.0861976449641926</c:v>
                </c:pt>
                <c:pt idx="1181">
                  <c:v>1.0861976449641926</c:v>
                </c:pt>
                <c:pt idx="1182">
                  <c:v>1.0861976449641926</c:v>
                </c:pt>
                <c:pt idx="1183">
                  <c:v>1.1004529502284774</c:v>
                </c:pt>
                <c:pt idx="1184">
                  <c:v>1.1205381461969655</c:v>
                </c:pt>
                <c:pt idx="1185">
                  <c:v>1.1420670972263802</c:v>
                </c:pt>
                <c:pt idx="1186">
                  <c:v>1.14240937971431</c:v>
                </c:pt>
                <c:pt idx="1187">
                  <c:v>1.1567308685589688</c:v>
                </c:pt>
                <c:pt idx="1188">
                  <c:v>1.1567308685589688</c:v>
                </c:pt>
                <c:pt idx="1189">
                  <c:v>1.1567308685589688</c:v>
                </c:pt>
                <c:pt idx="1190">
                  <c:v>1.1605065435232178</c:v>
                </c:pt>
                <c:pt idx="1191">
                  <c:v>1.1474834697498442</c:v>
                </c:pt>
                <c:pt idx="1192">
                  <c:v>1.1831775194777516</c:v>
                </c:pt>
                <c:pt idx="1193">
                  <c:v>1.171664086806247</c:v>
                </c:pt>
                <c:pt idx="1194">
                  <c:v>1.1690433297011693</c:v>
                </c:pt>
                <c:pt idx="1195">
                  <c:v>1.1690433297011693</c:v>
                </c:pt>
                <c:pt idx="1196">
                  <c:v>1.1690433297011693</c:v>
                </c:pt>
                <c:pt idx="1197">
                  <c:v>1.1704473266080893</c:v>
                </c:pt>
                <c:pt idx="1198">
                  <c:v>1.164957636440493</c:v>
                </c:pt>
                <c:pt idx="1199">
                  <c:v>1.1204451961478639</c:v>
                </c:pt>
                <c:pt idx="1200">
                  <c:v>1.1133813567343758</c:v>
                </c:pt>
                <c:pt idx="1201">
                  <c:v>1.108447372946729</c:v>
                </c:pt>
                <c:pt idx="1202">
                  <c:v>1.108447372946729</c:v>
                </c:pt>
                <c:pt idx="1203">
                  <c:v>1.108447372946729</c:v>
                </c:pt>
                <c:pt idx="1204">
                  <c:v>1.1210368940989053</c:v>
                </c:pt>
                <c:pt idx="1205">
                  <c:v>1.1472709300521675</c:v>
                </c:pt>
                <c:pt idx="1206">
                  <c:v>1.143779774182617</c:v>
                </c:pt>
                <c:pt idx="1207">
                  <c:v>1.138591759054552</c:v>
                </c:pt>
                <c:pt idx="1208">
                  <c:v>1.123985149835459</c:v>
                </c:pt>
                <c:pt idx="1209">
                  <c:v>1.123985149835459</c:v>
                </c:pt>
                <c:pt idx="1210">
                  <c:v>1.123985149835459</c:v>
                </c:pt>
                <c:pt idx="1211">
                  <c:v>1.1145665375588916</c:v>
                </c:pt>
                <c:pt idx="1212">
                  <c:v>1.1079339694608237</c:v>
                </c:pt>
                <c:pt idx="1213">
                  <c:v>1.1079339694608237</c:v>
                </c:pt>
                <c:pt idx="1214">
                  <c:v>1.117716080732332</c:v>
                </c:pt>
                <c:pt idx="1215">
                  <c:v>1.1413945600225932</c:v>
                </c:pt>
                <c:pt idx="1216">
                  <c:v>1.1413945600225932</c:v>
                </c:pt>
                <c:pt idx="1217">
                  <c:v>1.1413945600225932</c:v>
                </c:pt>
                <c:pt idx="1218">
                  <c:v>1.166210062786634</c:v>
                </c:pt>
                <c:pt idx="1219">
                  <c:v>1.13005330124026</c:v>
                </c:pt>
                <c:pt idx="1220">
                  <c:v>1.1313232917049514</c:v>
                </c:pt>
                <c:pt idx="1221">
                  <c:v>1.1264905032003916</c:v>
                </c:pt>
                <c:pt idx="1222">
                  <c:v>1.0838272053984683</c:v>
                </c:pt>
                <c:pt idx="1223">
                  <c:v>1.0838272053984683</c:v>
                </c:pt>
                <c:pt idx="1224">
                  <c:v>1.0838272053984683</c:v>
                </c:pt>
                <c:pt idx="1225">
                  <c:v>1.063908484905956</c:v>
                </c:pt>
                <c:pt idx="1226">
                  <c:v>1.0492533758380658</c:v>
                </c:pt>
                <c:pt idx="1227">
                  <c:v>1.1067387038797656</c:v>
                </c:pt>
                <c:pt idx="1228">
                  <c:v>1.1043557130166186</c:v>
                </c:pt>
                <c:pt idx="1229">
                  <c:v>1.1205063878570867</c:v>
                </c:pt>
                <c:pt idx="1230">
                  <c:v>1.1205063878570867</c:v>
                </c:pt>
                <c:pt idx="1231">
                  <c:v>1.1205063878570867</c:v>
                </c:pt>
                <c:pt idx="1232">
                  <c:v>1.1260842694126523</c:v>
                </c:pt>
                <c:pt idx="1233">
                  <c:v>1.1477576813741392</c:v>
                </c:pt>
                <c:pt idx="1234">
                  <c:v>1.1624442839806362</c:v>
                </c:pt>
                <c:pt idx="1235">
                  <c:v>1.180173241441977</c:v>
                </c:pt>
                <c:pt idx="1236">
                  <c:v>1.1842178728647306</c:v>
                </c:pt>
                <c:pt idx="1237">
                  <c:v>1.1842178728647306</c:v>
                </c:pt>
                <c:pt idx="1238">
                  <c:v>1.1842178728647306</c:v>
                </c:pt>
                <c:pt idx="1239">
                  <c:v>1.1189547891990759</c:v>
                </c:pt>
                <c:pt idx="1240">
                  <c:v>1.1606744888577238</c:v>
                </c:pt>
                <c:pt idx="1241">
                  <c:v>1.155336668759511</c:v>
                </c:pt>
                <c:pt idx="1242">
                  <c:v>1.1806592032354746</c:v>
                </c:pt>
                <c:pt idx="1243">
                  <c:v>1.1671220251666359</c:v>
                </c:pt>
                <c:pt idx="1244">
                  <c:v>1.1671220251666359</c:v>
                </c:pt>
                <c:pt idx="1245">
                  <c:v>1.1671220251666359</c:v>
                </c:pt>
                <c:pt idx="1246">
                  <c:v>1.183989706068067</c:v>
                </c:pt>
                <c:pt idx="1247">
                  <c:v>1.1612983377968504</c:v>
                </c:pt>
                <c:pt idx="1248">
                  <c:v>1.2010604987565965</c:v>
                </c:pt>
                <c:pt idx="1249">
                  <c:v>1.2186799834511026</c:v>
                </c:pt>
                <c:pt idx="1250">
                  <c:v>1.2172373362234024</c:v>
                </c:pt>
                <c:pt idx="1251">
                  <c:v>1.2172373362234024</c:v>
                </c:pt>
                <c:pt idx="1252">
                  <c:v>1.2172373362234024</c:v>
                </c:pt>
                <c:pt idx="1253">
                  <c:v>1.2290894560295529</c:v>
                </c:pt>
                <c:pt idx="1254">
                  <c:v>1.2106959420419656</c:v>
                </c:pt>
                <c:pt idx="1255">
                  <c:v>1.2099280931562513</c:v>
                </c:pt>
                <c:pt idx="1256">
                  <c:v>1.2303195944733978</c:v>
                </c:pt>
                <c:pt idx="1257">
                  <c:v>1.2420820252386493</c:v>
                </c:pt>
                <c:pt idx="1258">
                  <c:v>1.2420820252386493</c:v>
                </c:pt>
                <c:pt idx="1259">
                  <c:v>1.2420820252386493</c:v>
                </c:pt>
                <c:pt idx="1260">
                  <c:v>1.251764884087307</c:v>
                </c:pt>
                <c:pt idx="1261">
                  <c:v>1.2582524117533875</c:v>
                </c:pt>
                <c:pt idx="1262">
                  <c:v>1.228861397220483</c:v>
                </c:pt>
                <c:pt idx="1263">
                  <c:v>1.2407491795774965</c:v>
                </c:pt>
                <c:pt idx="1264">
                  <c:v>1.2286200723316654</c:v>
                </c:pt>
                <c:pt idx="1265">
                  <c:v>1.2286200723316654</c:v>
                </c:pt>
                <c:pt idx="1266">
                  <c:v>1.2286200723316654</c:v>
                </c:pt>
                <c:pt idx="1267">
                  <c:v>1.2081734152604353</c:v>
                </c:pt>
                <c:pt idx="1268">
                  <c:v>1.1882514945758222</c:v>
                </c:pt>
                <c:pt idx="1269">
                  <c:v>1.1969060609964695</c:v>
                </c:pt>
                <c:pt idx="1270">
                  <c:v>1.1716815987898097</c:v>
                </c:pt>
                <c:pt idx="1271">
                  <c:v>1.1856639148613546</c:v>
                </c:pt>
                <c:pt idx="1272">
                  <c:v>1.1856639148613546</c:v>
                </c:pt>
                <c:pt idx="1273">
                  <c:v>1.1856639148613546</c:v>
                </c:pt>
                <c:pt idx="1274">
                  <c:v>1.1697648619531904</c:v>
                </c:pt>
                <c:pt idx="1275">
                  <c:v>1.1567003396230402</c:v>
                </c:pt>
                <c:pt idx="1276">
                  <c:v>1.1889170964929554</c:v>
                </c:pt>
                <c:pt idx="1277">
                  <c:v>1.171720277592402</c:v>
                </c:pt>
                <c:pt idx="1278">
                  <c:v>1.1962703890354551</c:v>
                </c:pt>
                <c:pt idx="1279">
                  <c:v>1.1962703890354551</c:v>
                </c:pt>
                <c:pt idx="1280">
                  <c:v>1.1962703890354551</c:v>
                </c:pt>
                <c:pt idx="1281">
                  <c:v>1.1151180875727174</c:v>
                </c:pt>
                <c:pt idx="1282">
                  <c:v>1.1077745016956917</c:v>
                </c:pt>
                <c:pt idx="1283">
                  <c:v>1.1099750455523898</c:v>
                </c:pt>
                <c:pt idx="1284">
                  <c:v>1.0846590907854745</c:v>
                </c:pt>
                <c:pt idx="1285">
                  <c:v>1.1241958936931522</c:v>
                </c:pt>
                <c:pt idx="1286">
                  <c:v>1.1241958936931522</c:v>
                </c:pt>
                <c:pt idx="1287">
                  <c:v>1.1241958936931522</c:v>
                </c:pt>
                <c:pt idx="1288">
                  <c:v>1.1387262063762287</c:v>
                </c:pt>
                <c:pt idx="1289">
                  <c:v>1.1348162525805372</c:v>
                </c:pt>
                <c:pt idx="1290">
                  <c:v>1.1573183470241628</c:v>
                </c:pt>
                <c:pt idx="1291">
                  <c:v>1.1511106178736434</c:v>
                </c:pt>
                <c:pt idx="1292">
                  <c:v>1.1490782421808534</c:v>
                </c:pt>
                <c:pt idx="1293">
                  <c:v>1.1490782421808534</c:v>
                </c:pt>
                <c:pt idx="1294">
                  <c:v>1.1490782421808534</c:v>
                </c:pt>
                <c:pt idx="1295">
                  <c:v>1.1764202827544747</c:v>
                </c:pt>
                <c:pt idx="1296">
                  <c:v>1.1771707959892224</c:v>
                </c:pt>
                <c:pt idx="1297">
                  <c:v>1.1656247156701252</c:v>
                </c:pt>
                <c:pt idx="1298">
                  <c:v>1.1462681292025096</c:v>
                </c:pt>
                <c:pt idx="1299">
                  <c:v>1.1101091441404027</c:v>
                </c:pt>
                <c:pt idx="1300">
                  <c:v>1.1101091441404027</c:v>
                </c:pt>
                <c:pt idx="1301">
                  <c:v>1.1101091441404027</c:v>
                </c:pt>
                <c:pt idx="1302">
                  <c:v>1.0665119081725085</c:v>
                </c:pt>
                <c:pt idx="1303">
                  <c:v>1.0818086225237105</c:v>
                </c:pt>
                <c:pt idx="1304">
                  <c:v>1.0756143270067802</c:v>
                </c:pt>
                <c:pt idx="1305">
                  <c:v>0.9863254585223835</c:v>
                </c:pt>
                <c:pt idx="1306">
                  <c:v>0.8747689191219497</c:v>
                </c:pt>
                <c:pt idx="1307">
                  <c:v>0.8747689191219497</c:v>
                </c:pt>
                <c:pt idx="1308">
                  <c:v>0.8747689191219497</c:v>
                </c:pt>
                <c:pt idx="1309">
                  <c:v>0.8478874756759887</c:v>
                </c:pt>
                <c:pt idx="1310">
                  <c:v>0.839526628056263</c:v>
                </c:pt>
                <c:pt idx="1311">
                  <c:v>0.945920136116412</c:v>
                </c:pt>
                <c:pt idx="1312">
                  <c:v>0.9368436719124966</c:v>
                </c:pt>
                <c:pt idx="1313">
                  <c:v>0.9933734909626024</c:v>
                </c:pt>
                <c:pt idx="1314">
                  <c:v>0.9933734909626024</c:v>
                </c:pt>
                <c:pt idx="1315">
                  <c:v>0.9933734909626024</c:v>
                </c:pt>
                <c:pt idx="1316">
                  <c:v>1.0198864004430135</c:v>
                </c:pt>
                <c:pt idx="1317">
                  <c:v>1.0262330054212114</c:v>
                </c:pt>
                <c:pt idx="1318">
                  <c:v>1.0015162813079463</c:v>
                </c:pt>
                <c:pt idx="1319">
                  <c:v>1.0084840338102161</c:v>
                </c:pt>
                <c:pt idx="1320">
                  <c:v>1.0091456203613784</c:v>
                </c:pt>
                <c:pt idx="1321">
                  <c:v>1.0091456203613784</c:v>
                </c:pt>
                <c:pt idx="1322">
                  <c:v>1.0091456203613784</c:v>
                </c:pt>
                <c:pt idx="1323">
                  <c:v>0.9809097575183945</c:v>
                </c:pt>
                <c:pt idx="1324">
                  <c:v>1.0093636168526627</c:v>
                </c:pt>
                <c:pt idx="1325">
                  <c:v>1.0521135681599385</c:v>
                </c:pt>
                <c:pt idx="1326">
                  <c:v>1.0727940298932226</c:v>
                </c:pt>
                <c:pt idx="1327">
                  <c:v>1.0630728989336036</c:v>
                </c:pt>
                <c:pt idx="1328">
                  <c:v>1.0630728989336036</c:v>
                </c:pt>
                <c:pt idx="1329">
                  <c:v>1.0630728989336036</c:v>
                </c:pt>
                <c:pt idx="1330">
                  <c:v>1.045214199681515</c:v>
                </c:pt>
                <c:pt idx="1331">
                  <c:v>1.0623873302390288</c:v>
                </c:pt>
                <c:pt idx="1332">
                  <c:v>1.0715845997192788</c:v>
                </c:pt>
                <c:pt idx="1333">
                  <c:v>1.0721453278423754</c:v>
                </c:pt>
                <c:pt idx="1334">
                  <c:v>1.1112493195817241</c:v>
                </c:pt>
                <c:pt idx="1335">
                  <c:v>1.1112493195817241</c:v>
                </c:pt>
                <c:pt idx="1336">
                  <c:v>1.1112493195817241</c:v>
                </c:pt>
                <c:pt idx="1337">
                  <c:v>1.0937173589804914</c:v>
                </c:pt>
                <c:pt idx="1338">
                  <c:v>1.0651177566412655</c:v>
                </c:pt>
                <c:pt idx="1339">
                  <c:v>1.03019267691153</c:v>
                </c:pt>
                <c:pt idx="1340">
                  <c:v>1.0104771875338545</c:v>
                </c:pt>
                <c:pt idx="1341">
                  <c:v>0.9934229259099514</c:v>
                </c:pt>
                <c:pt idx="1342">
                  <c:v>0.9934229259099514</c:v>
                </c:pt>
                <c:pt idx="1343">
                  <c:v>0.9934229259099514</c:v>
                </c:pt>
                <c:pt idx="1344">
                  <c:v>1.0357088383534059</c:v>
                </c:pt>
                <c:pt idx="1345">
                  <c:v>1.0486818664685376</c:v>
                </c:pt>
                <c:pt idx="1346">
                  <c:v>1.0843975136578057</c:v>
                </c:pt>
                <c:pt idx="1347">
                  <c:v>1.1060301287996879</c:v>
                </c:pt>
                <c:pt idx="1348">
                  <c:v>1.1145411711404947</c:v>
                </c:pt>
                <c:pt idx="1349">
                  <c:v>1.1145411711404947</c:v>
                </c:pt>
                <c:pt idx="1350">
                  <c:v>1.1145411711404947</c:v>
                </c:pt>
                <c:pt idx="1351">
                  <c:v>1.133762226267288</c:v>
                </c:pt>
                <c:pt idx="1352">
                  <c:v>1.1426618805834239</c:v>
                </c:pt>
                <c:pt idx="1353">
                  <c:v>1.1320473331807177</c:v>
                </c:pt>
                <c:pt idx="1354">
                  <c:v>1.1394801293814525</c:v>
                </c:pt>
                <c:pt idx="1355">
                  <c:v>1.1410484752661536</c:v>
                </c:pt>
                <c:pt idx="1356">
                  <c:v>1.1410484752661536</c:v>
                </c:pt>
                <c:pt idx="1357">
                  <c:v>1.1410484752661536</c:v>
                </c:pt>
                <c:pt idx="1358">
                  <c:v>1.1525388239808292</c:v>
                </c:pt>
                <c:pt idx="1359">
                  <c:v>1.2054250211065631</c:v>
                </c:pt>
                <c:pt idx="1360">
                  <c:v>1.1305085089015314</c:v>
                </c:pt>
                <c:pt idx="1361">
                  <c:v>1.099870885331708</c:v>
                </c:pt>
                <c:pt idx="1362">
                  <c:v>1.1032582205194137</c:v>
                </c:pt>
                <c:pt idx="1363">
                  <c:v>1.1032582205194137</c:v>
                </c:pt>
                <c:pt idx="1364">
                  <c:v>1.1032582205194137</c:v>
                </c:pt>
                <c:pt idx="1365">
                  <c:v>1.1238965687097178</c:v>
                </c:pt>
                <c:pt idx="1366">
                  <c:v>1.1342907817377657</c:v>
                </c:pt>
                <c:pt idx="1367">
                  <c:v>1.161349684955142</c:v>
                </c:pt>
                <c:pt idx="1368">
                  <c:v>1.0660438837045145</c:v>
                </c:pt>
                <c:pt idx="1369">
                  <c:v>1.1061145990992802</c:v>
                </c:pt>
                <c:pt idx="1370">
                  <c:v>1.1061145990992802</c:v>
                </c:pt>
                <c:pt idx="1371">
                  <c:v>1.1061145990992802</c:v>
                </c:pt>
                <c:pt idx="1372">
                  <c:v>1.0007868158003328</c:v>
                </c:pt>
                <c:pt idx="1373">
                  <c:v>1.0230749366181047</c:v>
                </c:pt>
                <c:pt idx="1374">
                  <c:v>1.0354874734658615</c:v>
                </c:pt>
                <c:pt idx="1375">
                  <c:v>1.0184623094555407</c:v>
                </c:pt>
                <c:pt idx="1376">
                  <c:v>0.9692078390408077</c:v>
                </c:pt>
                <c:pt idx="1377">
                  <c:v>0.9692078390408077</c:v>
                </c:pt>
                <c:pt idx="1378">
                  <c:v>0.9692078390408077</c:v>
                </c:pt>
                <c:pt idx="1379">
                  <c:v>0.9451908555775015</c:v>
                </c:pt>
                <c:pt idx="1380">
                  <c:v>0.9381138458691383</c:v>
                </c:pt>
                <c:pt idx="1381">
                  <c:v>0.9424803710919858</c:v>
                </c:pt>
                <c:pt idx="1382">
                  <c:v>0.9110908075535695</c:v>
                </c:pt>
                <c:pt idx="1383">
                  <c:v>0.8609124287613028</c:v>
                </c:pt>
                <c:pt idx="1384">
                  <c:v>0.8609124287613028</c:v>
                </c:pt>
                <c:pt idx="1385">
                  <c:v>0.8609124287613028</c:v>
                </c:pt>
                <c:pt idx="1386">
                  <c:v>0.8487121434170586</c:v>
                </c:pt>
                <c:pt idx="1387">
                  <c:v>0.8834865868935557</c:v>
                </c:pt>
                <c:pt idx="1388">
                  <c:v>0.8932262634673245</c:v>
                </c:pt>
                <c:pt idx="1389">
                  <c:v>0.9172929028556076</c:v>
                </c:pt>
                <c:pt idx="1390">
                  <c:v>0.9388383339215769</c:v>
                </c:pt>
                <c:pt idx="1391">
                  <c:v>0.9388383339215769</c:v>
                </c:pt>
                <c:pt idx="1392">
                  <c:v>0.9388383339215769</c:v>
                </c:pt>
                <c:pt idx="1393">
                  <c:v>0.9568969449851321</c:v>
                </c:pt>
                <c:pt idx="1394">
                  <c:v>0.9774908080465452</c:v>
                </c:pt>
                <c:pt idx="1395">
                  <c:v>0.9950064800533396</c:v>
                </c:pt>
                <c:pt idx="1396">
                  <c:v>1.0198574698880698</c:v>
                </c:pt>
                <c:pt idx="1397">
                  <c:v>1.0341725871363585</c:v>
                </c:pt>
                <c:pt idx="1398">
                  <c:v>1.0341725871363585</c:v>
                </c:pt>
                <c:pt idx="1399">
                  <c:v>1.0341725871363585</c:v>
                </c:pt>
                <c:pt idx="1400">
                  <c:v>1.0200438520731847</c:v>
                </c:pt>
                <c:pt idx="1401">
                  <c:v>1.0149650336129477</c:v>
                </c:pt>
                <c:pt idx="1402">
                  <c:v>1.0184227192607658</c:v>
                </c:pt>
                <c:pt idx="1403">
                  <c:v>1.0261105322782202</c:v>
                </c:pt>
                <c:pt idx="1404">
                  <c:v>0.9350511882997485</c:v>
                </c:pt>
                <c:pt idx="1405">
                  <c:v>0.9350511882997485</c:v>
                </c:pt>
                <c:pt idx="1406">
                  <c:v>0.9350511882997485</c:v>
                </c:pt>
                <c:pt idx="1407">
                  <c:v>0.9105502399982186</c:v>
                </c:pt>
                <c:pt idx="1408">
                  <c:v>0.9139731026989988</c:v>
                </c:pt>
                <c:pt idx="1409">
                  <c:v>0.8889758982406373</c:v>
                </c:pt>
                <c:pt idx="1410">
                  <c:v>0.9022258845695785</c:v>
                </c:pt>
                <c:pt idx="1411">
                  <c:v>0.9500092259721675</c:v>
                </c:pt>
                <c:pt idx="1412">
                  <c:v>0.9500092259721675</c:v>
                </c:pt>
                <c:pt idx="1413">
                  <c:v>0.9500092259721675</c:v>
                </c:pt>
                <c:pt idx="1414">
                  <c:v>0.9278026741670384</c:v>
                </c:pt>
                <c:pt idx="1415">
                  <c:v>0.9337324665959685</c:v>
                </c:pt>
                <c:pt idx="1416">
                  <c:v>0.9672188217789879</c:v>
                </c:pt>
                <c:pt idx="1417">
                  <c:v>0.9773932631009146</c:v>
                </c:pt>
                <c:pt idx="1418">
                  <c:v>0.988748108024974</c:v>
                </c:pt>
                <c:pt idx="1419">
                  <c:v>0.988748108024974</c:v>
                </c:pt>
                <c:pt idx="1420">
                  <c:v>0.988748108024974</c:v>
                </c:pt>
                <c:pt idx="1421">
                  <c:v>0.974599506028095</c:v>
                </c:pt>
                <c:pt idx="1422">
                  <c:v>0.9780369283802834</c:v>
                </c:pt>
                <c:pt idx="1423">
                  <c:v>0.9291338916913066</c:v>
                </c:pt>
                <c:pt idx="1424">
                  <c:v>0.9233884468555673</c:v>
                </c:pt>
                <c:pt idx="1425">
                  <c:v>0.8904176641967274</c:v>
                </c:pt>
                <c:pt idx="1426">
                  <c:v>0.8904176641967274</c:v>
                </c:pt>
                <c:pt idx="1427">
                  <c:v>0.8904176641967274</c:v>
                </c:pt>
                <c:pt idx="1428">
                  <c:v>0.8757969525975244</c:v>
                </c:pt>
                <c:pt idx="1429">
                  <c:v>0.9030580680869968</c:v>
                </c:pt>
                <c:pt idx="1430">
                  <c:v>0.916896837018331</c:v>
                </c:pt>
                <c:pt idx="1431">
                  <c:v>0.9334560867566064</c:v>
                </c:pt>
                <c:pt idx="1432">
                  <c:v>0.9620011663589678</c:v>
                </c:pt>
                <c:pt idx="1433">
                  <c:v>0.9620011663589678</c:v>
                </c:pt>
                <c:pt idx="1434">
                  <c:v>0.9620011663589678</c:v>
                </c:pt>
                <c:pt idx="1435">
                  <c:v>0.9468944087558047</c:v>
                </c:pt>
                <c:pt idx="1436">
                  <c:v>0.9811145190571389</c:v>
                </c:pt>
                <c:pt idx="1437">
                  <c:v>0.9680088130754536</c:v>
                </c:pt>
                <c:pt idx="1438">
                  <c:v>0.9663897385343929</c:v>
                </c:pt>
                <c:pt idx="1439">
                  <c:v>0.9605734685254559</c:v>
                </c:pt>
                <c:pt idx="1440">
                  <c:v>0.9605734685254559</c:v>
                </c:pt>
                <c:pt idx="1441">
                  <c:v>0.9605734685254559</c:v>
                </c:pt>
                <c:pt idx="1442">
                  <c:v>0.9648359196026217</c:v>
                </c:pt>
                <c:pt idx="1443">
                  <c:v>0.9665043221783438</c:v>
                </c:pt>
                <c:pt idx="1444">
                  <c:v>0.9580858502076357</c:v>
                </c:pt>
                <c:pt idx="1445">
                  <c:v>0.956164474479754</c:v>
                </c:pt>
                <c:pt idx="1446">
                  <c:v>0.9743110024661061</c:v>
                </c:pt>
                <c:pt idx="1447">
                  <c:v>0.9743110024661061</c:v>
                </c:pt>
                <c:pt idx="1448">
                  <c:v>0.9743110024661061</c:v>
                </c:pt>
                <c:pt idx="1449">
                  <c:v>0.9381135278916781</c:v>
                </c:pt>
                <c:pt idx="1450">
                  <c:v>0.9779185044951664</c:v>
                </c:pt>
                <c:pt idx="1451">
                  <c:v>0.9848571725483182</c:v>
                </c:pt>
                <c:pt idx="1452">
                  <c:v>0.9916788804348056</c:v>
                </c:pt>
                <c:pt idx="1453">
                  <c:v>0.9934668840343817</c:v>
                </c:pt>
                <c:pt idx="1454">
                  <c:v>0.9934668840343817</c:v>
                </c:pt>
                <c:pt idx="1455">
                  <c:v>0.9934668840343817</c:v>
                </c:pt>
                <c:pt idx="1456">
                  <c:v>1.005951308777838</c:v>
                </c:pt>
                <c:pt idx="1457">
                  <c:v>0.9923353986632231</c:v>
                </c:pt>
                <c:pt idx="1458">
                  <c:v>1.0137627656800223</c:v>
                </c:pt>
                <c:pt idx="1459">
                  <c:v>1.034037925115609</c:v>
                </c:pt>
                <c:pt idx="1460">
                  <c:v>1.0378701759032944</c:v>
                </c:pt>
                <c:pt idx="1461">
                  <c:v>1.0378701759032944</c:v>
                </c:pt>
                <c:pt idx="1462">
                  <c:v>1.0378701759032944</c:v>
                </c:pt>
                <c:pt idx="1463">
                  <c:v>1.0443657402115676</c:v>
                </c:pt>
                <c:pt idx="1464">
                  <c:v>1.0627666037201777</c:v>
                </c:pt>
                <c:pt idx="1465">
                  <c:v>1.0622475986672546</c:v>
                </c:pt>
                <c:pt idx="1466">
                  <c:v>1.0999570029987407</c:v>
                </c:pt>
                <c:pt idx="1467">
                  <c:v>1.06790600464474</c:v>
                </c:pt>
                <c:pt idx="1468">
                  <c:v>1.06790600464474</c:v>
                </c:pt>
                <c:pt idx="1469">
                  <c:v>1.06790600464474</c:v>
                </c:pt>
                <c:pt idx="1470">
                  <c:v>1.067235713118281</c:v>
                </c:pt>
                <c:pt idx="1471">
                  <c:v>1.0633643371530588</c:v>
                </c:pt>
                <c:pt idx="1472">
                  <c:v>1.0393824510336755</c:v>
                </c:pt>
                <c:pt idx="1473">
                  <c:v>1.0543943166255336</c:v>
                </c:pt>
                <c:pt idx="1474">
                  <c:v>1.0709906435239356</c:v>
                </c:pt>
                <c:pt idx="1475">
                  <c:v>1.0709906435239356</c:v>
                </c:pt>
                <c:pt idx="1476">
                  <c:v>1.0709906435239356</c:v>
                </c:pt>
                <c:pt idx="1477">
                  <c:v>1.089228536158895</c:v>
                </c:pt>
                <c:pt idx="1478">
                  <c:v>1.0986488308988225</c:v>
                </c:pt>
                <c:pt idx="1479">
                  <c:v>1.0801341905560626</c:v>
                </c:pt>
                <c:pt idx="1480">
                  <c:v>1.0666646041507404</c:v>
                </c:pt>
                <c:pt idx="1481">
                  <c:v>1.0772430857304354</c:v>
                </c:pt>
                <c:pt idx="1482">
                  <c:v>1.0772430857304354</c:v>
                </c:pt>
                <c:pt idx="1483">
                  <c:v>1.0772430857304354</c:v>
                </c:pt>
                <c:pt idx="1484">
                  <c:v>1.0810680085986624</c:v>
                </c:pt>
                <c:pt idx="1485">
                  <c:v>1.1014914183822802</c:v>
                </c:pt>
              </c:numCache>
            </c:numRef>
          </c:val>
          <c:smooth val="0"/>
          <c:extLst>
            <c:ext xmlns:c16="http://schemas.microsoft.com/office/drawing/2014/chart" uri="{C3380CC4-5D6E-409C-BE32-E72D297353CC}">
              <c16:uniqueId val="{00000002-1D55-4091-B462-1B341D70D85C}"/>
            </c:ext>
          </c:extLst>
        </c:ser>
        <c:ser>
          <c:idx val="3"/>
          <c:order val="3"/>
          <c:tx>
            <c:strRef>
              <c:f>Sheet1!$E$1</c:f>
              <c:strCache>
                <c:ptCount val="1"/>
                <c:pt idx="0">
                  <c:v>Benchmark return ZMW</c:v>
                </c:pt>
              </c:strCache>
            </c:strRef>
          </c:tx>
          <c:spPr>
            <a:ln w="12700" cap="rnd">
              <a:solidFill>
                <a:schemeClr val="bg1">
                  <a:lumMod val="65000"/>
                </a:schemeClr>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E$2:$E$1487</c:f>
              <c:numCache>
                <c:formatCode>General</c:formatCode>
                <c:ptCount val="1486"/>
                <c:pt idx="0">
                  <c:v>0.0</c:v>
                </c:pt>
                <c:pt idx="1">
                  <c:v>-0.0012940759301398597</c:v>
                </c:pt>
                <c:pt idx="2">
                  <c:v>-0.005559269730191274</c:v>
                </c:pt>
                <c:pt idx="3">
                  <c:v>-0.004830250858506968</c:v>
                </c:pt>
                <c:pt idx="4">
                  <c:v>-0.009688861207955868</c:v>
                </c:pt>
                <c:pt idx="5">
                  <c:v>-0.009688861207955868</c:v>
                </c:pt>
                <c:pt idx="6">
                  <c:v>-0.009688861207955868</c:v>
                </c:pt>
                <c:pt idx="7">
                  <c:v>-0.0036727042582710423</c:v>
                </c:pt>
                <c:pt idx="8">
                  <c:v>-0.007073337156461301</c:v>
                </c:pt>
                <c:pt idx="9">
                  <c:v>0.0021342325334614554</c:v>
                </c:pt>
                <c:pt idx="10">
                  <c:v>0.0005101269391925012</c:v>
                </c:pt>
                <c:pt idx="11">
                  <c:v>-0.008279133646912573</c:v>
                </c:pt>
                <c:pt idx="12">
                  <c:v>-0.008279133646912573</c:v>
                </c:pt>
                <c:pt idx="13">
                  <c:v>-0.008279133646912573</c:v>
                </c:pt>
                <c:pt idx="14">
                  <c:v>-0.024395678316238123</c:v>
                </c:pt>
                <c:pt idx="15">
                  <c:v>-0.019537271183829752</c:v>
                </c:pt>
                <c:pt idx="16">
                  <c:v>-0.00918921372028092</c:v>
                </c:pt>
                <c:pt idx="17">
                  <c:v>0.004879951650155423</c:v>
                </c:pt>
                <c:pt idx="18">
                  <c:v>0.0052074118279774595</c:v>
                </c:pt>
                <c:pt idx="19">
                  <c:v>0.0052074118279774595</c:v>
                </c:pt>
                <c:pt idx="20">
                  <c:v>0.0052074118279774595</c:v>
                </c:pt>
                <c:pt idx="21">
                  <c:v>0.006821692910774502</c:v>
                </c:pt>
                <c:pt idx="22">
                  <c:v>-0.008290863105469337</c:v>
                </c:pt>
                <c:pt idx="23">
                  <c:v>-0.008938762262546751</c:v>
                </c:pt>
                <c:pt idx="24">
                  <c:v>-0.013521560292588664</c:v>
                </c:pt>
                <c:pt idx="25">
                  <c:v>-0.005088297139898668</c:v>
                </c:pt>
                <c:pt idx="26">
                  <c:v>-0.005088297139898668</c:v>
                </c:pt>
                <c:pt idx="27">
                  <c:v>-0.005088297139898668</c:v>
                </c:pt>
                <c:pt idx="28">
                  <c:v>-0.01695169879504821</c:v>
                </c:pt>
                <c:pt idx="29">
                  <c:v>-0.0008543032226471237</c:v>
                </c:pt>
                <c:pt idx="30">
                  <c:v>0.0070822094293230275</c:v>
                </c:pt>
                <c:pt idx="31">
                  <c:v>0.018904580196452914</c:v>
                </c:pt>
                <c:pt idx="32">
                  <c:v>0.020368503652881564</c:v>
                </c:pt>
                <c:pt idx="33">
                  <c:v>0.020368503652881564</c:v>
                </c:pt>
                <c:pt idx="34">
                  <c:v>0.020368503652881564</c:v>
                </c:pt>
                <c:pt idx="35">
                  <c:v>0.01820689833112099</c:v>
                </c:pt>
                <c:pt idx="36">
                  <c:v>0.013980259141554763</c:v>
                </c:pt>
                <c:pt idx="37">
                  <c:v>0.016061327479323095</c:v>
                </c:pt>
                <c:pt idx="38">
                  <c:v>0.02325987858211409</c:v>
                </c:pt>
                <c:pt idx="39">
                  <c:v>0.03284969634450374</c:v>
                </c:pt>
                <c:pt idx="40">
                  <c:v>0.03284969634450374</c:v>
                </c:pt>
                <c:pt idx="41">
                  <c:v>0.03284969634450374</c:v>
                </c:pt>
                <c:pt idx="42">
                  <c:v>0.05133593809220094</c:v>
                </c:pt>
                <c:pt idx="43">
                  <c:v>0.0451656228564048</c:v>
                </c:pt>
                <c:pt idx="44">
                  <c:v>0.05334132535944702</c:v>
                </c:pt>
                <c:pt idx="45">
                  <c:v>0.05714932729284827</c:v>
                </c:pt>
                <c:pt idx="46">
                  <c:v>0.056591371344387076</c:v>
                </c:pt>
                <c:pt idx="47">
                  <c:v>0.056591371344387076</c:v>
                </c:pt>
                <c:pt idx="48">
                  <c:v>0.056591371344387076</c:v>
                </c:pt>
                <c:pt idx="49">
                  <c:v>0.06108765730733379</c:v>
                </c:pt>
                <c:pt idx="50">
                  <c:v>0.06220154315373394</c:v>
                </c:pt>
                <c:pt idx="51">
                  <c:v>0.05906120478010535</c:v>
                </c:pt>
                <c:pt idx="52">
                  <c:v>0.07280293801295712</c:v>
                </c:pt>
                <c:pt idx="53">
                  <c:v>0.0714962958002292</c:v>
                </c:pt>
                <c:pt idx="54">
                  <c:v>0.0714962958002292</c:v>
                </c:pt>
                <c:pt idx="55">
                  <c:v>0.0714962958002292</c:v>
                </c:pt>
                <c:pt idx="56">
                  <c:v>0.07820173465064606</c:v>
                </c:pt>
                <c:pt idx="57">
                  <c:v>0.08078382677309959</c:v>
                </c:pt>
                <c:pt idx="58">
                  <c:v>0.08876964021897904</c:v>
                </c:pt>
                <c:pt idx="59">
                  <c:v>0.09169799634306863</c:v>
                </c:pt>
                <c:pt idx="60">
                  <c:v>0.09690612632159157</c:v>
                </c:pt>
                <c:pt idx="61">
                  <c:v>0.09690612632159157</c:v>
                </c:pt>
                <c:pt idx="62">
                  <c:v>0.09690612632159157</c:v>
                </c:pt>
                <c:pt idx="63">
                  <c:v>0.10320439805321557</c:v>
                </c:pt>
                <c:pt idx="64">
                  <c:v>0.09991601973154163</c:v>
                </c:pt>
                <c:pt idx="65">
                  <c:v>0.09167019485080119</c:v>
                </c:pt>
                <c:pt idx="66">
                  <c:v>0.09599619825174521</c:v>
                </c:pt>
                <c:pt idx="67">
                  <c:v>0.1029022155861481</c:v>
                </c:pt>
                <c:pt idx="68">
                  <c:v>0.1029022155861481</c:v>
                </c:pt>
                <c:pt idx="69">
                  <c:v>0.1029022155861481</c:v>
                </c:pt>
                <c:pt idx="70">
                  <c:v>0.10371764001833883</c:v>
                </c:pt>
                <c:pt idx="71">
                  <c:v>0.1068648376422705</c:v>
                </c:pt>
                <c:pt idx="72">
                  <c:v>0.10677581276510639</c:v>
                </c:pt>
                <c:pt idx="73">
                  <c:v>0.11046882300314831</c:v>
                </c:pt>
                <c:pt idx="74">
                  <c:v>0.10748006375367636</c:v>
                </c:pt>
                <c:pt idx="75">
                  <c:v>0.10748006375367636</c:v>
                </c:pt>
                <c:pt idx="76">
                  <c:v>0.10748006375367636</c:v>
                </c:pt>
                <c:pt idx="77">
                  <c:v>0.10078976476929968</c:v>
                </c:pt>
                <c:pt idx="78">
                  <c:v>0.0997524607914031</c:v>
                </c:pt>
                <c:pt idx="79">
                  <c:v>0.10279495517591819</c:v>
                </c:pt>
                <c:pt idx="80">
                  <c:v>0.107079068631323</c:v>
                </c:pt>
                <c:pt idx="81">
                  <c:v>0.0817719546521174</c:v>
                </c:pt>
                <c:pt idx="82">
                  <c:v>0.0817719546521174</c:v>
                </c:pt>
                <c:pt idx="83">
                  <c:v>0.0817719546521174</c:v>
                </c:pt>
                <c:pt idx="84">
                  <c:v>0.09370949447159838</c:v>
                </c:pt>
                <c:pt idx="85">
                  <c:v>0.07947923848426619</c:v>
                </c:pt>
                <c:pt idx="86">
                  <c:v>0.06925499839181937</c:v>
                </c:pt>
                <c:pt idx="87">
                  <c:v>0.08490644151790572</c:v>
                </c:pt>
                <c:pt idx="88">
                  <c:v>0.07642037478703889</c:v>
                </c:pt>
                <c:pt idx="89">
                  <c:v>0.07642037478703889</c:v>
                </c:pt>
                <c:pt idx="90">
                  <c:v>0.07642037478703889</c:v>
                </c:pt>
                <c:pt idx="91">
                  <c:v>0.08684388353609984</c:v>
                </c:pt>
                <c:pt idx="92">
                  <c:v>0.09768944498250254</c:v>
                </c:pt>
                <c:pt idx="93">
                  <c:v>0.09023147152818001</c:v>
                </c:pt>
                <c:pt idx="94">
                  <c:v>0.07275062376052222</c:v>
                </c:pt>
                <c:pt idx="95">
                  <c:v>7.855330481776335e-05</c:v>
                </c:pt>
                <c:pt idx="96">
                  <c:v>7.855330481776335e-05</c:v>
                </c:pt>
                <c:pt idx="97">
                  <c:v>7.855330481776335e-05</c:v>
                </c:pt>
                <c:pt idx="98">
                  <c:v>-0.012735540516684463</c:v>
                </c:pt>
                <c:pt idx="99">
                  <c:v>-0.00776237441380323</c:v>
                </c:pt>
                <c:pt idx="100">
                  <c:v>0.011177210860350284</c:v>
                </c:pt>
                <c:pt idx="101">
                  <c:v>0.01053753306524241</c:v>
                </c:pt>
                <c:pt idx="102">
                  <c:v>0.0030784159575181214</c:v>
                </c:pt>
                <c:pt idx="103">
                  <c:v>0.0030784159575181214</c:v>
                </c:pt>
                <c:pt idx="104">
                  <c:v>0.0030784159575181214</c:v>
                </c:pt>
                <c:pt idx="105">
                  <c:v>0.003594260098638724</c:v>
                </c:pt>
                <c:pt idx="106">
                  <c:v>0.015028899362507842</c:v>
                </c:pt>
                <c:pt idx="107">
                  <c:v>0.024431559161862237</c:v>
                </c:pt>
                <c:pt idx="108">
                  <c:v>0.03492185884180765</c:v>
                </c:pt>
                <c:pt idx="109">
                  <c:v>0.036393947103708246</c:v>
                </c:pt>
                <c:pt idx="110">
                  <c:v>0.036393947103708246</c:v>
                </c:pt>
                <c:pt idx="111">
                  <c:v>0.036393947103708246</c:v>
                </c:pt>
                <c:pt idx="112">
                  <c:v>0.04563807862702762</c:v>
                </c:pt>
                <c:pt idx="113">
                  <c:v>0.048592269905317176</c:v>
                </c:pt>
                <c:pt idx="114">
                  <c:v>0.05009074385468182</c:v>
                </c:pt>
                <c:pt idx="115">
                  <c:v>0.050918959837368716</c:v>
                </c:pt>
                <c:pt idx="116">
                  <c:v>0.05029093607726587</c:v>
                </c:pt>
                <c:pt idx="117">
                  <c:v>0.05029093607726587</c:v>
                </c:pt>
                <c:pt idx="118">
                  <c:v>0.05029093607726587</c:v>
                </c:pt>
                <c:pt idx="119">
                  <c:v>0.05600320246647317</c:v>
                </c:pt>
                <c:pt idx="120">
                  <c:v>0.05580062552705267</c:v>
                </c:pt>
                <c:pt idx="121">
                  <c:v>0.04135617826961435</c:v>
                </c:pt>
                <c:pt idx="122">
                  <c:v>0.042413412341192336</c:v>
                </c:pt>
                <c:pt idx="123">
                  <c:v>0.04256323945026197</c:v>
                </c:pt>
                <c:pt idx="124">
                  <c:v>0.04256323945026197</c:v>
                </c:pt>
                <c:pt idx="125">
                  <c:v>0.04256323945026197</c:v>
                </c:pt>
                <c:pt idx="126">
                  <c:v>0.039338315309527916</c:v>
                </c:pt>
                <c:pt idx="127">
                  <c:v>0.06042012502123284</c:v>
                </c:pt>
                <c:pt idx="128">
                  <c:v>0.0666647857593996</c:v>
                </c:pt>
                <c:pt idx="129">
                  <c:v>0.056381490902688736</c:v>
                </c:pt>
                <c:pt idx="130">
                  <c:v>0.06671532022432802</c:v>
                </c:pt>
                <c:pt idx="131">
                  <c:v>0.06671532022432802</c:v>
                </c:pt>
                <c:pt idx="132">
                  <c:v>0.06671532022432802</c:v>
                </c:pt>
                <c:pt idx="133">
                  <c:v>0.06598343651970406</c:v>
                </c:pt>
                <c:pt idx="134">
                  <c:v>0.05476283237259216</c:v>
                </c:pt>
                <c:pt idx="135">
                  <c:v>0.04927658771925847</c:v>
                </c:pt>
                <c:pt idx="136">
                  <c:v>0.043978023918948006</c:v>
                </c:pt>
                <c:pt idx="137">
                  <c:v>0.033780809201571005</c:v>
                </c:pt>
                <c:pt idx="138">
                  <c:v>0.033780809201571005</c:v>
                </c:pt>
                <c:pt idx="139">
                  <c:v>0.033780809201571005</c:v>
                </c:pt>
                <c:pt idx="140">
                  <c:v>0.03513893138280655</c:v>
                </c:pt>
                <c:pt idx="141">
                  <c:v>0.028798772045689702</c:v>
                </c:pt>
                <c:pt idx="142">
                  <c:v>0.029483270367901326</c:v>
                </c:pt>
                <c:pt idx="143">
                  <c:v>0.02695217290676144</c:v>
                </c:pt>
                <c:pt idx="144">
                  <c:v>0.05349938679728816</c:v>
                </c:pt>
                <c:pt idx="145">
                  <c:v>0.05349938679728816</c:v>
                </c:pt>
                <c:pt idx="146">
                  <c:v>0.05349938679728816</c:v>
                </c:pt>
                <c:pt idx="147">
                  <c:v>0.08322504275452491</c:v>
                </c:pt>
                <c:pt idx="148">
                  <c:v>0.09794085531954377</c:v>
                </c:pt>
                <c:pt idx="149">
                  <c:v>0.1049220423123558</c:v>
                </c:pt>
                <c:pt idx="150">
                  <c:v>0.08816617971544072</c:v>
                </c:pt>
                <c:pt idx="151">
                  <c:v>0.09946932374930384</c:v>
                </c:pt>
                <c:pt idx="152">
                  <c:v>0.09946932374930384</c:v>
                </c:pt>
                <c:pt idx="153">
                  <c:v>0.09946932374930384</c:v>
                </c:pt>
                <c:pt idx="154">
                  <c:v>0.10235689014418958</c:v>
                </c:pt>
                <c:pt idx="155">
                  <c:v>0.11335949764516284</c:v>
                </c:pt>
                <c:pt idx="156">
                  <c:v>0.13821365436087563</c:v>
                </c:pt>
                <c:pt idx="157">
                  <c:v>0.12176226357426922</c:v>
                </c:pt>
                <c:pt idx="158">
                  <c:v>0.10989806522248946</c:v>
                </c:pt>
                <c:pt idx="159">
                  <c:v>0.10989806522248946</c:v>
                </c:pt>
                <c:pt idx="160">
                  <c:v>0.10989806522248946</c:v>
                </c:pt>
                <c:pt idx="161">
                  <c:v>0.11473465999409238</c:v>
                </c:pt>
                <c:pt idx="162">
                  <c:v>0.13140020842969835</c:v>
                </c:pt>
                <c:pt idx="163">
                  <c:v>0.10128562745596348</c:v>
                </c:pt>
                <c:pt idx="164">
                  <c:v>0.061099044332220354</c:v>
                </c:pt>
                <c:pt idx="165">
                  <c:v>0.027329210824986072</c:v>
                </c:pt>
                <c:pt idx="166">
                  <c:v>0.027329210824986072</c:v>
                </c:pt>
                <c:pt idx="167">
                  <c:v>0.027329210824986072</c:v>
                </c:pt>
                <c:pt idx="168">
                  <c:v>0.023558967441864143</c:v>
                </c:pt>
                <c:pt idx="169">
                  <c:v>0.017427585370660026</c:v>
                </c:pt>
                <c:pt idx="170">
                  <c:v>0.00919488472658081</c:v>
                </c:pt>
                <c:pt idx="171">
                  <c:v>0.014342094699036467</c:v>
                </c:pt>
                <c:pt idx="172">
                  <c:v>0.040387636639601876</c:v>
                </c:pt>
                <c:pt idx="173">
                  <c:v>0.040387636639601876</c:v>
                </c:pt>
                <c:pt idx="174">
                  <c:v>0.040387636639601876</c:v>
                </c:pt>
                <c:pt idx="175">
                  <c:v>0.026435717076575438</c:v>
                </c:pt>
                <c:pt idx="176">
                  <c:v>0.018078304355261254</c:v>
                </c:pt>
                <c:pt idx="177">
                  <c:v>0.035436571285992535</c:v>
                </c:pt>
                <c:pt idx="178">
                  <c:v>0.02668354039117049</c:v>
                </c:pt>
                <c:pt idx="179">
                  <c:v>0.020210963605548526</c:v>
                </c:pt>
                <c:pt idx="180">
                  <c:v>0.020210963605548526</c:v>
                </c:pt>
                <c:pt idx="181">
                  <c:v>0.020210963605548526</c:v>
                </c:pt>
                <c:pt idx="182">
                  <c:v>-0.006721395448645362</c:v>
                </c:pt>
                <c:pt idx="183">
                  <c:v>-0.009021518015221663</c:v>
                </c:pt>
                <c:pt idx="184">
                  <c:v>0.020171886854518428</c:v>
                </c:pt>
                <c:pt idx="185">
                  <c:v>0.017330499059662108</c:v>
                </c:pt>
                <c:pt idx="186">
                  <c:v>0.0068632813062463605</c:v>
                </c:pt>
                <c:pt idx="187">
                  <c:v>0.0068632813062463605</c:v>
                </c:pt>
                <c:pt idx="188">
                  <c:v>0.0068632813062463605</c:v>
                </c:pt>
                <c:pt idx="189">
                  <c:v>0.0016793466312639005</c:v>
                </c:pt>
                <c:pt idx="190">
                  <c:v>0.018589238325512625</c:v>
                </c:pt>
                <c:pt idx="191">
                  <c:v>0.022504802532092638</c:v>
                </c:pt>
                <c:pt idx="192">
                  <c:v>0.03475646614964667</c:v>
                </c:pt>
                <c:pt idx="193">
                  <c:v>0.047222612253001284</c:v>
                </c:pt>
                <c:pt idx="194">
                  <c:v>0.047222612253001284</c:v>
                </c:pt>
                <c:pt idx="195">
                  <c:v>0.047222612253001284</c:v>
                </c:pt>
                <c:pt idx="196">
                  <c:v>0.04068524646917293</c:v>
                </c:pt>
                <c:pt idx="197">
                  <c:v>0.05258271352437882</c:v>
                </c:pt>
                <c:pt idx="198">
                  <c:v>0.03654340634013442</c:v>
                </c:pt>
                <c:pt idx="199">
                  <c:v>0.05688033773233303</c:v>
                </c:pt>
                <c:pt idx="200">
                  <c:v>0.06147543972720704</c:v>
                </c:pt>
                <c:pt idx="201">
                  <c:v>0.06147543972720704</c:v>
                </c:pt>
                <c:pt idx="202">
                  <c:v>0.06147543972720704</c:v>
                </c:pt>
                <c:pt idx="203">
                  <c:v>0.06956907277359803</c:v>
                </c:pt>
                <c:pt idx="204">
                  <c:v>0.08778157553152544</c:v>
                </c:pt>
                <c:pt idx="205">
                  <c:v>0.08737968483254233</c:v>
                </c:pt>
                <c:pt idx="206">
                  <c:v>0.06898625063945119</c:v>
                </c:pt>
                <c:pt idx="207">
                  <c:v>0.07948184094324473</c:v>
                </c:pt>
                <c:pt idx="208">
                  <c:v>0.07948184094324473</c:v>
                </c:pt>
                <c:pt idx="209">
                  <c:v>0.07948184094324473</c:v>
                </c:pt>
                <c:pt idx="210">
                  <c:v>0.08529303842636615</c:v>
                </c:pt>
                <c:pt idx="211">
                  <c:v>0.0466150818158797</c:v>
                </c:pt>
                <c:pt idx="212">
                  <c:v>0.0346790300812978</c:v>
                </c:pt>
                <c:pt idx="213">
                  <c:v>0.03630713832760635</c:v>
                </c:pt>
                <c:pt idx="214">
                  <c:v>0.034564675383781385</c:v>
                </c:pt>
                <c:pt idx="215">
                  <c:v>0.034564675383781385</c:v>
                </c:pt>
                <c:pt idx="216">
                  <c:v>0.034564675383781385</c:v>
                </c:pt>
                <c:pt idx="217">
                  <c:v>0.018841732352816054</c:v>
                </c:pt>
                <c:pt idx="218">
                  <c:v>0.01227243123074273</c:v>
                </c:pt>
                <c:pt idx="219">
                  <c:v>0.019236412761891586</c:v>
                </c:pt>
                <c:pt idx="220">
                  <c:v>0.007325413114078083</c:v>
                </c:pt>
                <c:pt idx="221">
                  <c:v>0.007287119413855514</c:v>
                </c:pt>
                <c:pt idx="222">
                  <c:v>0.007287119413855514</c:v>
                </c:pt>
                <c:pt idx="223">
                  <c:v>0.007287119413855514</c:v>
                </c:pt>
                <c:pt idx="224">
                  <c:v>0.01421862768218718</c:v>
                </c:pt>
                <c:pt idx="225">
                  <c:v>0.02586685370332109</c:v>
                </c:pt>
                <c:pt idx="226">
                  <c:v>0.01881632330114602</c:v>
                </c:pt>
                <c:pt idx="227">
                  <c:v>0.00154248160575432</c:v>
                </c:pt>
                <c:pt idx="228">
                  <c:v>-0.013055110559960448</c:v>
                </c:pt>
                <c:pt idx="229">
                  <c:v>-0.013055110559960448</c:v>
                </c:pt>
                <c:pt idx="230">
                  <c:v>-0.013055110559960448</c:v>
                </c:pt>
                <c:pt idx="231">
                  <c:v>-0.04970185758230705</c:v>
                </c:pt>
                <c:pt idx="232">
                  <c:v>-0.07295782114127436</c:v>
                </c:pt>
                <c:pt idx="233">
                  <c:v>-0.06436967092496759</c:v>
                </c:pt>
                <c:pt idx="234">
                  <c:v>-0.04359729560744452</c:v>
                </c:pt>
                <c:pt idx="235">
                  <c:v>-0.06978034789415832</c:v>
                </c:pt>
                <c:pt idx="236">
                  <c:v>-0.06978034789415832</c:v>
                </c:pt>
                <c:pt idx="237">
                  <c:v>-0.06978034789415832</c:v>
                </c:pt>
                <c:pt idx="238">
                  <c:v>-0.06640416717550501</c:v>
                </c:pt>
                <c:pt idx="239">
                  <c:v>-0.05999754956498893</c:v>
                </c:pt>
                <c:pt idx="240">
                  <c:v>-0.045916997643523416</c:v>
                </c:pt>
                <c:pt idx="241">
                  <c:v>-0.07436621293793655</c:v>
                </c:pt>
                <c:pt idx="242">
                  <c:v>-0.0806152724511967</c:v>
                </c:pt>
                <c:pt idx="243">
                  <c:v>-0.0806152724511967</c:v>
                </c:pt>
                <c:pt idx="244">
                  <c:v>-0.0806152724511967</c:v>
                </c:pt>
                <c:pt idx="245">
                  <c:v>-0.11110159614061155</c:v>
                </c:pt>
                <c:pt idx="246">
                  <c:v>-0.10578107548283255</c:v>
                </c:pt>
                <c:pt idx="247">
                  <c:v>-0.11590268405200443</c:v>
                </c:pt>
                <c:pt idx="248">
                  <c:v>-0.11818062414395836</c:v>
                </c:pt>
                <c:pt idx="249">
                  <c:v>-0.09359882134826936</c:v>
                </c:pt>
                <c:pt idx="250">
                  <c:v>-0.09359882134826936</c:v>
                </c:pt>
                <c:pt idx="251">
                  <c:v>-0.09359882134826936</c:v>
                </c:pt>
                <c:pt idx="252">
                  <c:v>-0.10331972231060793</c:v>
                </c:pt>
                <c:pt idx="253">
                  <c:v>-0.08015262405533241</c:v>
                </c:pt>
                <c:pt idx="254">
                  <c:v>-0.11304640367997454</c:v>
                </c:pt>
                <c:pt idx="255">
                  <c:v>-0.11022520779838152</c:v>
                </c:pt>
                <c:pt idx="256">
                  <c:v>-0.10726098157286201</c:v>
                </c:pt>
                <c:pt idx="257">
                  <c:v>-0.10726098157286201</c:v>
                </c:pt>
                <c:pt idx="258">
                  <c:v>-0.10726098157286201</c:v>
                </c:pt>
                <c:pt idx="259">
                  <c:v>-0.09206923174547321</c:v>
                </c:pt>
                <c:pt idx="260">
                  <c:v>-0.09547263682516782</c:v>
                </c:pt>
                <c:pt idx="261">
                  <c:v>-0.08745619262000115</c:v>
                </c:pt>
                <c:pt idx="262">
                  <c:v>-0.07152119184923778</c:v>
                </c:pt>
                <c:pt idx="263">
                  <c:v>-0.05082754730609962</c:v>
                </c:pt>
                <c:pt idx="264">
                  <c:v>-0.05082754730609962</c:v>
                </c:pt>
                <c:pt idx="265">
                  <c:v>-0.05082754730609962</c:v>
                </c:pt>
                <c:pt idx="266">
                  <c:v>-0.05054335771502483</c:v>
                </c:pt>
                <c:pt idx="267">
                  <c:v>-0.054603112615589255</c:v>
                </c:pt>
                <c:pt idx="268">
                  <c:v>-0.05995734802388464</c:v>
                </c:pt>
                <c:pt idx="269">
                  <c:v>-0.0397008916010847</c:v>
                </c:pt>
                <c:pt idx="270">
                  <c:v>-0.06129378760063675</c:v>
                </c:pt>
                <c:pt idx="271">
                  <c:v>-0.06129378760063675</c:v>
                </c:pt>
                <c:pt idx="272">
                  <c:v>-0.06129378760063675</c:v>
                </c:pt>
                <c:pt idx="273">
                  <c:v>-0.06539450975383743</c:v>
                </c:pt>
                <c:pt idx="274">
                  <c:v>-0.06563571281865899</c:v>
                </c:pt>
                <c:pt idx="275">
                  <c:v>-0.07848304813004914</c:v>
                </c:pt>
                <c:pt idx="276">
                  <c:v>-0.09767980858759351</c:v>
                </c:pt>
                <c:pt idx="277">
                  <c:v>-0.11690483837122534</c:v>
                </c:pt>
                <c:pt idx="278">
                  <c:v>-0.11690483837122534</c:v>
                </c:pt>
                <c:pt idx="279">
                  <c:v>-0.11690483837122534</c:v>
                </c:pt>
                <c:pt idx="280">
                  <c:v>-0.1448041596371754</c:v>
                </c:pt>
                <c:pt idx="281">
                  <c:v>-0.15555201974198796</c:v>
                </c:pt>
                <c:pt idx="282">
                  <c:v>-0.14196896359328448</c:v>
                </c:pt>
                <c:pt idx="283">
                  <c:v>-0.16590445368787654</c:v>
                </c:pt>
                <c:pt idx="284">
                  <c:v>-0.16569510430816736</c:v>
                </c:pt>
                <c:pt idx="285">
                  <c:v>-0.16569510430816736</c:v>
                </c:pt>
                <c:pt idx="286">
                  <c:v>-0.16569510430816736</c:v>
                </c:pt>
                <c:pt idx="287">
                  <c:v>-0.16190529307063206</c:v>
                </c:pt>
                <c:pt idx="288">
                  <c:v>-0.1455757052061868</c:v>
                </c:pt>
                <c:pt idx="289">
                  <c:v>-0.1493192328715951</c:v>
                </c:pt>
                <c:pt idx="290">
                  <c:v>-0.14200744045421565</c:v>
                </c:pt>
                <c:pt idx="291">
                  <c:v>-0.11595974898214367</c:v>
                </c:pt>
                <c:pt idx="292">
                  <c:v>-0.11595974898214367</c:v>
                </c:pt>
                <c:pt idx="293">
                  <c:v>-0.11595974898214367</c:v>
                </c:pt>
                <c:pt idx="294">
                  <c:v>-0.11741091046587437</c:v>
                </c:pt>
                <c:pt idx="295">
                  <c:v>-0.12906486343406487</c:v>
                </c:pt>
                <c:pt idx="296">
                  <c:v>-0.13021688181196156</c:v>
                </c:pt>
                <c:pt idx="297">
                  <c:v>-0.1364996359312215</c:v>
                </c:pt>
                <c:pt idx="298">
                  <c:v>-0.14186125905484348</c:v>
                </c:pt>
                <c:pt idx="299">
                  <c:v>-0.14186125905484348</c:v>
                </c:pt>
                <c:pt idx="300">
                  <c:v>-0.14186125905484348</c:v>
                </c:pt>
                <c:pt idx="301">
                  <c:v>-0.15309128583410558</c:v>
                </c:pt>
                <c:pt idx="302">
                  <c:v>-0.1623739582570165</c:v>
                </c:pt>
                <c:pt idx="303">
                  <c:v>-0.16117960525587283</c:v>
                </c:pt>
                <c:pt idx="304">
                  <c:v>-0.16177599935149667</c:v>
                </c:pt>
                <c:pt idx="305">
                  <c:v>-0.16135427315171536</c:v>
                </c:pt>
                <c:pt idx="306">
                  <c:v>-0.16135427315171536</c:v>
                </c:pt>
                <c:pt idx="307">
                  <c:v>-0.16135427315171536</c:v>
                </c:pt>
                <c:pt idx="308">
                  <c:v>-0.17689831851690907</c:v>
                </c:pt>
                <c:pt idx="309">
                  <c:v>-0.1767681333895733</c:v>
                </c:pt>
                <c:pt idx="310">
                  <c:v>-0.17962386396951646</c:v>
                </c:pt>
                <c:pt idx="311">
                  <c:v>-0.18468696518354366</c:v>
                </c:pt>
                <c:pt idx="312">
                  <c:v>-0.16897283536239138</c:v>
                </c:pt>
                <c:pt idx="313">
                  <c:v>-0.16897283536239138</c:v>
                </c:pt>
                <c:pt idx="314">
                  <c:v>-0.16897283536239138</c:v>
                </c:pt>
                <c:pt idx="315">
                  <c:v>-0.17187414778401644</c:v>
                </c:pt>
                <c:pt idx="316">
                  <c:v>-0.149558125516827</c:v>
                </c:pt>
                <c:pt idx="317">
                  <c:v>-0.1466635037234898</c:v>
                </c:pt>
                <c:pt idx="318">
                  <c:v>-0.13769517793258768</c:v>
                </c:pt>
                <c:pt idx="319">
                  <c:v>-0.1431604136190554</c:v>
                </c:pt>
                <c:pt idx="320">
                  <c:v>-0.1431604136190554</c:v>
                </c:pt>
                <c:pt idx="321">
                  <c:v>-0.1431604136190554</c:v>
                </c:pt>
                <c:pt idx="322">
                  <c:v>-0.14373681012076545</c:v>
                </c:pt>
                <c:pt idx="323">
                  <c:v>-0.1585258781396971</c:v>
                </c:pt>
                <c:pt idx="324">
                  <c:v>-0.11260576435209357</c:v>
                </c:pt>
                <c:pt idx="325">
                  <c:v>-0.10239682313866005</c:v>
                </c:pt>
                <c:pt idx="326">
                  <c:v>-0.11813084788060624</c:v>
                </c:pt>
                <c:pt idx="327">
                  <c:v>-0.11813084788060624</c:v>
                </c:pt>
                <c:pt idx="328">
                  <c:v>-0.11813084788060624</c:v>
                </c:pt>
                <c:pt idx="329">
                  <c:v>-0.11918885865159945</c:v>
                </c:pt>
                <c:pt idx="330">
                  <c:v>-0.12370833245503687</c:v>
                </c:pt>
                <c:pt idx="331">
                  <c:v>-0.1365051112884914</c:v>
                </c:pt>
                <c:pt idx="332">
                  <c:v>-0.1318639434090565</c:v>
                </c:pt>
                <c:pt idx="333">
                  <c:v>-0.13281364685443098</c:v>
                </c:pt>
                <c:pt idx="334">
                  <c:v>-0.13281364685443098</c:v>
                </c:pt>
                <c:pt idx="335">
                  <c:v>-0.13281364685443098</c:v>
                </c:pt>
                <c:pt idx="336">
                  <c:v>-0.12486695949939519</c:v>
                </c:pt>
                <c:pt idx="337">
                  <c:v>-0.14024027333575573</c:v>
                </c:pt>
                <c:pt idx="338">
                  <c:v>-0.11706900051522373</c:v>
                </c:pt>
                <c:pt idx="339">
                  <c:v>-0.11900207979637467</c:v>
                </c:pt>
                <c:pt idx="340">
                  <c:v>-0.10331378629553911</c:v>
                </c:pt>
                <c:pt idx="341">
                  <c:v>-0.10331378629553911</c:v>
                </c:pt>
                <c:pt idx="342">
                  <c:v>-0.10331378629553911</c:v>
                </c:pt>
                <c:pt idx="343">
                  <c:v>-0.10291372943730892</c:v>
                </c:pt>
                <c:pt idx="344">
                  <c:v>-0.10195397810654372</c:v>
                </c:pt>
                <c:pt idx="345">
                  <c:v>-0.10861104599111004</c:v>
                </c:pt>
                <c:pt idx="346">
                  <c:v>-0.10794234533564384</c:v>
                </c:pt>
                <c:pt idx="347">
                  <c:v>-0.12006234599450105</c:v>
                </c:pt>
                <c:pt idx="348">
                  <c:v>-0.12006234599450105</c:v>
                </c:pt>
                <c:pt idx="349">
                  <c:v>-0.12006234599450105</c:v>
                </c:pt>
                <c:pt idx="350">
                  <c:v>-0.1352162285793871</c:v>
                </c:pt>
                <c:pt idx="351">
                  <c:v>-0.13644554048293633</c:v>
                </c:pt>
                <c:pt idx="352">
                  <c:v>-0.1321188625194215</c:v>
                </c:pt>
                <c:pt idx="353">
                  <c:v>-0.12129952144984357</c:v>
                </c:pt>
                <c:pt idx="354">
                  <c:v>-0.14769630606565276</c:v>
                </c:pt>
                <c:pt idx="355">
                  <c:v>-0.14769630606565276</c:v>
                </c:pt>
                <c:pt idx="356">
                  <c:v>-0.14769630606565276</c:v>
                </c:pt>
                <c:pt idx="357">
                  <c:v>-0.14748498392942422</c:v>
                </c:pt>
                <c:pt idx="358">
                  <c:v>-0.16532237915330905</c:v>
                </c:pt>
                <c:pt idx="359">
                  <c:v>-0.175932697423117</c:v>
                </c:pt>
                <c:pt idx="360">
                  <c:v>-0.18555042793885135</c:v>
                </c:pt>
                <c:pt idx="361">
                  <c:v>-0.21839637646596066</c:v>
                </c:pt>
                <c:pt idx="362">
                  <c:v>-0.21839637646596066</c:v>
                </c:pt>
                <c:pt idx="363">
                  <c:v>-0.21839637646596066</c:v>
                </c:pt>
                <c:pt idx="364">
                  <c:v>-0.21571261959581645</c:v>
                </c:pt>
                <c:pt idx="365">
                  <c:v>-0.2192288485118209</c:v>
                </c:pt>
                <c:pt idx="366">
                  <c:v>-0.20679862211643296</c:v>
                </c:pt>
                <c:pt idx="367">
                  <c:v>-0.2010093468519072</c:v>
                </c:pt>
                <c:pt idx="368">
                  <c:v>-0.18410528263046766</c:v>
                </c:pt>
                <c:pt idx="369">
                  <c:v>-0.18410528263046766</c:v>
                </c:pt>
                <c:pt idx="370">
                  <c:v>-0.18410528263046766</c:v>
                </c:pt>
                <c:pt idx="371">
                  <c:v>-0.17887812813720794</c:v>
                </c:pt>
                <c:pt idx="372">
                  <c:v>-0.20500233510845178</c:v>
                </c:pt>
                <c:pt idx="373">
                  <c:v>-0.20102681123566668</c:v>
                </c:pt>
                <c:pt idx="374">
                  <c:v>-0.2077293383518064</c:v>
                </c:pt>
                <c:pt idx="375">
                  <c:v>-0.2140145737575987</c:v>
                </c:pt>
                <c:pt idx="376">
                  <c:v>-0.2140145737575987</c:v>
                </c:pt>
                <c:pt idx="377">
                  <c:v>-0.2140145737575987</c:v>
                </c:pt>
                <c:pt idx="378">
                  <c:v>-0.2253861617412809</c:v>
                </c:pt>
                <c:pt idx="379">
                  <c:v>-0.21497200591345667</c:v>
                </c:pt>
                <c:pt idx="380">
                  <c:v>-0.22008856326685533</c:v>
                </c:pt>
                <c:pt idx="381">
                  <c:v>-0.23125797651105007</c:v>
                </c:pt>
                <c:pt idx="382">
                  <c:v>-0.24870218488836304</c:v>
                </c:pt>
                <c:pt idx="383">
                  <c:v>-0.24870218488836304</c:v>
                </c:pt>
                <c:pt idx="384">
                  <c:v>-0.24870218488836304</c:v>
                </c:pt>
                <c:pt idx="385">
                  <c:v>-0.23670631452843705</c:v>
                </c:pt>
                <c:pt idx="386">
                  <c:v>-0.2574272880901214</c:v>
                </c:pt>
                <c:pt idx="387">
                  <c:v>-0.24169800489009563</c:v>
                </c:pt>
                <c:pt idx="388">
                  <c:v>-0.2535658064577334</c:v>
                </c:pt>
                <c:pt idx="389">
                  <c:v>-0.2617799635036625</c:v>
                </c:pt>
                <c:pt idx="390">
                  <c:v>-0.2617799635036625</c:v>
                </c:pt>
                <c:pt idx="391">
                  <c:v>-0.2617799635036625</c:v>
                </c:pt>
                <c:pt idx="392">
                  <c:v>-0.24400874219529667</c:v>
                </c:pt>
                <c:pt idx="393">
                  <c:v>-0.2213244816075225</c:v>
                </c:pt>
                <c:pt idx="394">
                  <c:v>-0.22177120669739347</c:v>
                </c:pt>
                <c:pt idx="395">
                  <c:v>-0.2283217744597863</c:v>
                </c:pt>
                <c:pt idx="396">
                  <c:v>-0.24846074333274348</c:v>
                </c:pt>
                <c:pt idx="397">
                  <c:v>-0.24846074333274348</c:v>
                </c:pt>
                <c:pt idx="398">
                  <c:v>-0.24846074333274348</c:v>
                </c:pt>
                <c:pt idx="399">
                  <c:v>-0.24976478343634756</c:v>
                </c:pt>
                <c:pt idx="400">
                  <c:v>-0.2604906563743953</c:v>
                </c:pt>
                <c:pt idx="401">
                  <c:v>-0.2621772180572164</c:v>
                </c:pt>
                <c:pt idx="402">
                  <c:v>-0.2434066632590397</c:v>
                </c:pt>
                <c:pt idx="403">
                  <c:v>-0.25796613726974593</c:v>
                </c:pt>
                <c:pt idx="404">
                  <c:v>-0.25796613726974593</c:v>
                </c:pt>
                <c:pt idx="405">
                  <c:v>-0.25796613726974593</c:v>
                </c:pt>
                <c:pt idx="406">
                  <c:v>-0.2386192406869989</c:v>
                </c:pt>
                <c:pt idx="407">
                  <c:v>-0.22998036680869904</c:v>
                </c:pt>
                <c:pt idx="408">
                  <c:v>-0.23835490925754932</c:v>
                </c:pt>
                <c:pt idx="409">
                  <c:v>-0.24097488878964635</c:v>
                </c:pt>
                <c:pt idx="410">
                  <c:v>-0.2246797608371034</c:v>
                </c:pt>
                <c:pt idx="411">
                  <c:v>-0.2246797608371034</c:v>
                </c:pt>
                <c:pt idx="412">
                  <c:v>-0.2246797608371034</c:v>
                </c:pt>
                <c:pt idx="413">
                  <c:v>-0.2297046684229026</c:v>
                </c:pt>
                <c:pt idx="414">
                  <c:v>-0.20955658275123357</c:v>
                </c:pt>
                <c:pt idx="415">
                  <c:v>-0.2024340294055631</c:v>
                </c:pt>
                <c:pt idx="416">
                  <c:v>-0.2078540225424571</c:v>
                </c:pt>
                <c:pt idx="417">
                  <c:v>-0.192167686269469</c:v>
                </c:pt>
                <c:pt idx="418">
                  <c:v>-0.192167686269469</c:v>
                </c:pt>
                <c:pt idx="419">
                  <c:v>-0.192167686269469</c:v>
                </c:pt>
                <c:pt idx="420">
                  <c:v>-0.19626468698550692</c:v>
                </c:pt>
                <c:pt idx="421">
                  <c:v>-0.18726553529231948</c:v>
                </c:pt>
                <c:pt idx="422">
                  <c:v>-0.21124223973650247</c:v>
                </c:pt>
                <c:pt idx="423">
                  <c:v>-0.21595825495912968</c:v>
                </c:pt>
                <c:pt idx="424">
                  <c:v>-0.19863090171359044</c:v>
                </c:pt>
                <c:pt idx="425">
                  <c:v>-0.19863090171359044</c:v>
                </c:pt>
                <c:pt idx="426">
                  <c:v>-0.19863090171359044</c:v>
                </c:pt>
                <c:pt idx="427">
                  <c:v>-0.19940325289090266</c:v>
                </c:pt>
                <c:pt idx="428">
                  <c:v>-0.18410395896184817</c:v>
                </c:pt>
                <c:pt idx="429">
                  <c:v>-0.19733237902219958</c:v>
                </c:pt>
                <c:pt idx="430">
                  <c:v>-0.1542987342047042</c:v>
                </c:pt>
                <c:pt idx="431">
                  <c:v>-0.13932887586075648</c:v>
                </c:pt>
                <c:pt idx="432">
                  <c:v>-0.13932887586075648</c:v>
                </c:pt>
                <c:pt idx="433">
                  <c:v>-0.13932887586075648</c:v>
                </c:pt>
                <c:pt idx="434">
                  <c:v>-0.15133853630365113</c:v>
                </c:pt>
                <c:pt idx="435">
                  <c:v>-0.13346880432698782</c:v>
                </c:pt>
                <c:pt idx="436">
                  <c:v>-0.1372736409402905</c:v>
                </c:pt>
                <c:pt idx="437">
                  <c:v>-0.13606088691791585</c:v>
                </c:pt>
                <c:pt idx="438">
                  <c:v>-0.1310781007039814</c:v>
                </c:pt>
                <c:pt idx="439">
                  <c:v>-0.1310781007039814</c:v>
                </c:pt>
                <c:pt idx="440">
                  <c:v>-0.1310781007039814</c:v>
                </c:pt>
                <c:pt idx="441">
                  <c:v>-0.13422840679424797</c:v>
                </c:pt>
                <c:pt idx="442">
                  <c:v>-0.12313124071687909</c:v>
                </c:pt>
                <c:pt idx="443">
                  <c:v>-0.11100275320860076</c:v>
                </c:pt>
                <c:pt idx="444">
                  <c:v>-0.10860207024333612</c:v>
                </c:pt>
                <c:pt idx="445">
                  <c:v>-0.10291164509827344</c:v>
                </c:pt>
                <c:pt idx="446">
                  <c:v>-0.10291164509827344</c:v>
                </c:pt>
                <c:pt idx="447">
                  <c:v>-0.10291164509827344</c:v>
                </c:pt>
                <c:pt idx="448">
                  <c:v>-0.11472179113650227</c:v>
                </c:pt>
                <c:pt idx="449">
                  <c:v>-0.10941045835092689</c:v>
                </c:pt>
                <c:pt idx="450">
                  <c:v>-0.08348446184483871</c:v>
                </c:pt>
                <c:pt idx="451">
                  <c:v>-0.07627250814219189</c:v>
                </c:pt>
                <c:pt idx="452">
                  <c:v>-0.07561575647393481</c:v>
                </c:pt>
                <c:pt idx="453">
                  <c:v>-0.07561575647393481</c:v>
                </c:pt>
                <c:pt idx="454">
                  <c:v>-0.07561575647393481</c:v>
                </c:pt>
                <c:pt idx="455">
                  <c:v>-0.08905181267306916</c:v>
                </c:pt>
                <c:pt idx="456">
                  <c:v>-0.097963969529132</c:v>
                </c:pt>
                <c:pt idx="457">
                  <c:v>-0.09509030478759128</c:v>
                </c:pt>
                <c:pt idx="458">
                  <c:v>-0.08760058029556406</c:v>
                </c:pt>
                <c:pt idx="459">
                  <c:v>-0.08952276944683624</c:v>
                </c:pt>
                <c:pt idx="460">
                  <c:v>-0.08952276944683624</c:v>
                </c:pt>
                <c:pt idx="461">
                  <c:v>-0.08952276944683624</c:v>
                </c:pt>
                <c:pt idx="462">
                  <c:v>-0.07744003479417894</c:v>
                </c:pt>
                <c:pt idx="463">
                  <c:v>-0.0677270101913009</c:v>
                </c:pt>
                <c:pt idx="464">
                  <c:v>-0.0674587606027135</c:v>
                </c:pt>
                <c:pt idx="465">
                  <c:v>-0.0876639399480077</c:v>
                </c:pt>
                <c:pt idx="466">
                  <c:v>-0.09447327148612283</c:v>
                </c:pt>
                <c:pt idx="467">
                  <c:v>-0.09447327148612283</c:v>
                </c:pt>
                <c:pt idx="468">
                  <c:v>-0.09447327148612283</c:v>
                </c:pt>
                <c:pt idx="469">
                  <c:v>-0.09196962197491321</c:v>
                </c:pt>
                <c:pt idx="470">
                  <c:v>-0.09111658551030777</c:v>
                </c:pt>
                <c:pt idx="471">
                  <c:v>-0.07434575342754801</c:v>
                </c:pt>
                <c:pt idx="472">
                  <c:v>-0.0848748900955053</c:v>
                </c:pt>
                <c:pt idx="473">
                  <c:v>-0.08071371185411724</c:v>
                </c:pt>
                <c:pt idx="474">
                  <c:v>-0.08071371185411724</c:v>
                </c:pt>
                <c:pt idx="475">
                  <c:v>-0.08071371185411724</c:v>
                </c:pt>
                <c:pt idx="476">
                  <c:v>-0.07681979173881814</c:v>
                </c:pt>
                <c:pt idx="477">
                  <c:v>-0.07740607112639586</c:v>
                </c:pt>
                <c:pt idx="478">
                  <c:v>-0.08568505797670622</c:v>
                </c:pt>
                <c:pt idx="479">
                  <c:v>-0.06844776418987297</c:v>
                </c:pt>
                <c:pt idx="480">
                  <c:v>-0.06980030404989557</c:v>
                </c:pt>
                <c:pt idx="481">
                  <c:v>-0.06980030404989557</c:v>
                </c:pt>
                <c:pt idx="482">
                  <c:v>-0.06980030404989557</c:v>
                </c:pt>
                <c:pt idx="483">
                  <c:v>-0.06814132363392866</c:v>
                </c:pt>
                <c:pt idx="484">
                  <c:v>-0.06969573568224341</c:v>
                </c:pt>
                <c:pt idx="485">
                  <c:v>-0.056176337646413055</c:v>
                </c:pt>
                <c:pt idx="486">
                  <c:v>-0.06191668627265201</c:v>
                </c:pt>
                <c:pt idx="487">
                  <c:v>-0.038664423415228244</c:v>
                </c:pt>
                <c:pt idx="488">
                  <c:v>-0.038664423415228244</c:v>
                </c:pt>
                <c:pt idx="489">
                  <c:v>-0.038664423415228244</c:v>
                </c:pt>
                <c:pt idx="490">
                  <c:v>-0.034654233459565864</c:v>
                </c:pt>
                <c:pt idx="491">
                  <c:v>-0.027051394084166125</c:v>
                </c:pt>
                <c:pt idx="492">
                  <c:v>-0.016364514626998172</c:v>
                </c:pt>
                <c:pt idx="493">
                  <c:v>-0.007581565690763403</c:v>
                </c:pt>
                <c:pt idx="494">
                  <c:v>-0.0036783031872335004</c:v>
                </c:pt>
                <c:pt idx="495">
                  <c:v>-0.0036783031872335004</c:v>
                </c:pt>
                <c:pt idx="496">
                  <c:v>-0.0036783031872335004</c:v>
                </c:pt>
                <c:pt idx="497">
                  <c:v>-0.004280689499722823</c:v>
                </c:pt>
                <c:pt idx="498">
                  <c:v>0.0011714934683371148</c:v>
                </c:pt>
                <c:pt idx="499">
                  <c:v>-0.005984510539297494</c:v>
                </c:pt>
                <c:pt idx="500">
                  <c:v>-0.01168092102516105</c:v>
                </c:pt>
                <c:pt idx="501">
                  <c:v>0.016567021607972743</c:v>
                </c:pt>
                <c:pt idx="502">
                  <c:v>0.016567021607972743</c:v>
                </c:pt>
                <c:pt idx="503">
                  <c:v>0.016567021607972743</c:v>
                </c:pt>
                <c:pt idx="504">
                  <c:v>0.017096508422547174</c:v>
                </c:pt>
                <c:pt idx="505">
                  <c:v>0.022385834463090948</c:v>
                </c:pt>
                <c:pt idx="506">
                  <c:v>0.03015380206422469</c:v>
                </c:pt>
                <c:pt idx="507">
                  <c:v>0.0420431737323117</c:v>
                </c:pt>
                <c:pt idx="508">
                  <c:v>0.046775032782593984</c:v>
                </c:pt>
                <c:pt idx="509">
                  <c:v>0.046775032782593984</c:v>
                </c:pt>
                <c:pt idx="510">
                  <c:v>0.046775032782593984</c:v>
                </c:pt>
                <c:pt idx="511">
                  <c:v>0.035964149762946596</c:v>
                </c:pt>
                <c:pt idx="512">
                  <c:v>0.05223189452099364</c:v>
                </c:pt>
                <c:pt idx="513">
                  <c:v>0.0632106570463653</c:v>
                </c:pt>
                <c:pt idx="514">
                  <c:v>0.07633730383141235</c:v>
                </c:pt>
                <c:pt idx="515">
                  <c:v>0.06372704095617765</c:v>
                </c:pt>
                <c:pt idx="516">
                  <c:v>0.06372704095617765</c:v>
                </c:pt>
                <c:pt idx="517">
                  <c:v>0.06372704095617765</c:v>
                </c:pt>
                <c:pt idx="518">
                  <c:v>0.06504030673845063</c:v>
                </c:pt>
                <c:pt idx="519">
                  <c:v>0.06717559388730088</c:v>
                </c:pt>
                <c:pt idx="520">
                  <c:v>0.060869635911318776</c:v>
                </c:pt>
                <c:pt idx="521">
                  <c:v>0.058778334619602024</c:v>
                </c:pt>
                <c:pt idx="522">
                  <c:v>0.05854181369613021</c:v>
                </c:pt>
                <c:pt idx="523">
                  <c:v>0.05854181369613021</c:v>
                </c:pt>
                <c:pt idx="524">
                  <c:v>0.05854181369613021</c:v>
                </c:pt>
                <c:pt idx="525">
                  <c:v>0.07078541173921327</c:v>
                </c:pt>
                <c:pt idx="526">
                  <c:v>0.07299826275126997</c:v>
                </c:pt>
                <c:pt idx="527">
                  <c:v>0.07724494003122806</c:v>
                </c:pt>
                <c:pt idx="528">
                  <c:v>0.06795621840920107</c:v>
                </c:pt>
                <c:pt idx="529">
                  <c:v>0.0671656264733933</c:v>
                </c:pt>
                <c:pt idx="530">
                  <c:v>0.0671656264733933</c:v>
                </c:pt>
                <c:pt idx="531">
                  <c:v>0.0671656264733933</c:v>
                </c:pt>
                <c:pt idx="532">
                  <c:v>0.06225619057711529</c:v>
                </c:pt>
                <c:pt idx="533">
                  <c:v>0.05406787914764921</c:v>
                </c:pt>
                <c:pt idx="534">
                  <c:v>0.05342855027774873</c:v>
                </c:pt>
                <c:pt idx="535">
                  <c:v>0.06126673117367942</c:v>
                </c:pt>
                <c:pt idx="536">
                  <c:v>0.05141278193593779</c:v>
                </c:pt>
                <c:pt idx="537">
                  <c:v>0.05141278193593779</c:v>
                </c:pt>
                <c:pt idx="538">
                  <c:v>0.05141278193593779</c:v>
                </c:pt>
                <c:pt idx="539">
                  <c:v>0.05992140236235488</c:v>
                </c:pt>
                <c:pt idx="540">
                  <c:v>0.0577037935939011</c:v>
                </c:pt>
                <c:pt idx="541">
                  <c:v>0.06112308374365849</c:v>
                </c:pt>
                <c:pt idx="542">
                  <c:v>0.07378914472724274</c:v>
                </c:pt>
                <c:pt idx="543">
                  <c:v>0.09298146954305864</c:v>
                </c:pt>
                <c:pt idx="544">
                  <c:v>0.09298146954305864</c:v>
                </c:pt>
                <c:pt idx="545">
                  <c:v>0.09298146954305864</c:v>
                </c:pt>
                <c:pt idx="546">
                  <c:v>0.09235372754827265</c:v>
                </c:pt>
                <c:pt idx="547">
                  <c:v>0.08285593086000675</c:v>
                </c:pt>
                <c:pt idx="548">
                  <c:v>0.08505553737090588</c:v>
                </c:pt>
                <c:pt idx="549">
                  <c:v>0.07026817845488909</c:v>
                </c:pt>
                <c:pt idx="550">
                  <c:v>0.05681232209937881</c:v>
                </c:pt>
                <c:pt idx="551">
                  <c:v>0.05681232209937881</c:v>
                </c:pt>
                <c:pt idx="552">
                  <c:v>0.05681232209937881</c:v>
                </c:pt>
                <c:pt idx="553">
                  <c:v>0.04987897507215333</c:v>
                </c:pt>
                <c:pt idx="554">
                  <c:v>0.07675693599128897</c:v>
                </c:pt>
                <c:pt idx="555">
                  <c:v>0.059864339463337135</c:v>
                </c:pt>
                <c:pt idx="556">
                  <c:v>0.08993763687062728</c:v>
                </c:pt>
                <c:pt idx="557">
                  <c:v>0.07755454178568</c:v>
                </c:pt>
                <c:pt idx="558">
                  <c:v>0.07755454178568</c:v>
                </c:pt>
                <c:pt idx="559">
                  <c:v>0.07755454178568</c:v>
                </c:pt>
                <c:pt idx="560">
                  <c:v>0.07266289883113397</c:v>
                </c:pt>
                <c:pt idx="561">
                  <c:v>0.10764026627388845</c:v>
                </c:pt>
                <c:pt idx="562">
                  <c:v>0.1037958174641398</c:v>
                </c:pt>
                <c:pt idx="563">
                  <c:v>0.1134544892727889</c:v>
                </c:pt>
                <c:pt idx="564">
                  <c:v>0.1275542553400193</c:v>
                </c:pt>
                <c:pt idx="565">
                  <c:v>0.1275542553400193</c:v>
                </c:pt>
                <c:pt idx="566">
                  <c:v>0.1275542553400193</c:v>
                </c:pt>
                <c:pt idx="567">
                  <c:v>0.1359544699505877</c:v>
                </c:pt>
                <c:pt idx="568">
                  <c:v>0.1420412358249421</c:v>
                </c:pt>
                <c:pt idx="569">
                  <c:v>0.15337730301811203</c:v>
                </c:pt>
                <c:pt idx="570">
                  <c:v>0.16422266753343528</c:v>
                </c:pt>
                <c:pt idx="571">
                  <c:v>0.18466087005097043</c:v>
                </c:pt>
                <c:pt idx="572">
                  <c:v>0.18466087005097043</c:v>
                </c:pt>
                <c:pt idx="573">
                  <c:v>0.18466087005097043</c:v>
                </c:pt>
                <c:pt idx="574">
                  <c:v>0.17762295693166985</c:v>
                </c:pt>
                <c:pt idx="575">
                  <c:v>0.14606390418878168</c:v>
                </c:pt>
                <c:pt idx="576">
                  <c:v>0.12451065502055858</c:v>
                </c:pt>
                <c:pt idx="577">
                  <c:v>0.10348771209652541</c:v>
                </c:pt>
                <c:pt idx="578">
                  <c:v>0.09606081766626051</c:v>
                </c:pt>
                <c:pt idx="579">
                  <c:v>0.09606081766626051</c:v>
                </c:pt>
                <c:pt idx="580">
                  <c:v>0.09606081766626051</c:v>
                </c:pt>
                <c:pt idx="581">
                  <c:v>0.08879278741276053</c:v>
                </c:pt>
                <c:pt idx="582">
                  <c:v>0.09982944076511857</c:v>
                </c:pt>
                <c:pt idx="583">
                  <c:v>0.07085240575018248</c:v>
                </c:pt>
                <c:pt idx="584">
                  <c:v>0.05089750975350005</c:v>
                </c:pt>
                <c:pt idx="585">
                  <c:v>0.03841263244454929</c:v>
                </c:pt>
                <c:pt idx="586">
                  <c:v>0.03841263244454929</c:v>
                </c:pt>
                <c:pt idx="587">
                  <c:v>0.03841263244454929</c:v>
                </c:pt>
                <c:pt idx="588">
                  <c:v>0.017435273174317922</c:v>
                </c:pt>
                <c:pt idx="589">
                  <c:v>-0.009226168868889495</c:v>
                </c:pt>
                <c:pt idx="590">
                  <c:v>-0.007699645470881866</c:v>
                </c:pt>
                <c:pt idx="591">
                  <c:v>-0.029622536220701545</c:v>
                </c:pt>
                <c:pt idx="592">
                  <c:v>-0.0321393944502546</c:v>
                </c:pt>
                <c:pt idx="593">
                  <c:v>-0.0321393944502546</c:v>
                </c:pt>
                <c:pt idx="594">
                  <c:v>-0.0321393944502546</c:v>
                </c:pt>
                <c:pt idx="595">
                  <c:v>-0.023766807523757483</c:v>
                </c:pt>
                <c:pt idx="596">
                  <c:v>-0.03969451232934518</c:v>
                </c:pt>
                <c:pt idx="597">
                  <c:v>-0.033258702426647746</c:v>
                </c:pt>
                <c:pt idx="598">
                  <c:v>-0.013686052377365532</c:v>
                </c:pt>
                <c:pt idx="599">
                  <c:v>-0.0029653148033632615</c:v>
                </c:pt>
                <c:pt idx="600">
                  <c:v>-0.0029653148033632615</c:v>
                </c:pt>
                <c:pt idx="601">
                  <c:v>-0.0029653148033632615</c:v>
                </c:pt>
                <c:pt idx="602">
                  <c:v>-0.016750336767247354</c:v>
                </c:pt>
                <c:pt idx="603">
                  <c:v>-0.016806912863218004</c:v>
                </c:pt>
                <c:pt idx="604">
                  <c:v>-0.01981774802907743</c:v>
                </c:pt>
                <c:pt idx="605">
                  <c:v>-0.019472964036800766</c:v>
                </c:pt>
                <c:pt idx="606">
                  <c:v>0.006910642089607455</c:v>
                </c:pt>
                <c:pt idx="607">
                  <c:v>0.006910642089607455</c:v>
                </c:pt>
                <c:pt idx="608">
                  <c:v>0.006910642089607455</c:v>
                </c:pt>
                <c:pt idx="609">
                  <c:v>0.007574457726184036</c:v>
                </c:pt>
                <c:pt idx="610">
                  <c:v>0.007607822729758018</c:v>
                </c:pt>
                <c:pt idx="611">
                  <c:v>0.017612392131568955</c:v>
                </c:pt>
                <c:pt idx="612">
                  <c:v>0.016709104716823076</c:v>
                </c:pt>
                <c:pt idx="613">
                  <c:v>0.015537198390314977</c:v>
                </c:pt>
                <c:pt idx="614">
                  <c:v>0.015537198390314977</c:v>
                </c:pt>
                <c:pt idx="615">
                  <c:v>0.015537198390314977</c:v>
                </c:pt>
                <c:pt idx="616">
                  <c:v>0.02249747562392601</c:v>
                </c:pt>
                <c:pt idx="617">
                  <c:v>0.03863783823424605</c:v>
                </c:pt>
                <c:pt idx="618">
                  <c:v>0.048101354656792106</c:v>
                </c:pt>
                <c:pt idx="619">
                  <c:v>0.046001540121160645</c:v>
                </c:pt>
                <c:pt idx="620">
                  <c:v>0.05142230138248016</c:v>
                </c:pt>
                <c:pt idx="621">
                  <c:v>0.05142230138248016</c:v>
                </c:pt>
                <c:pt idx="622">
                  <c:v>0.05142230138248016</c:v>
                </c:pt>
                <c:pt idx="623">
                  <c:v>0.06404056215006415</c:v>
                </c:pt>
                <c:pt idx="624">
                  <c:v>0.05256551677467258</c:v>
                </c:pt>
                <c:pt idx="625">
                  <c:v>0.05577474376115554</c:v>
                </c:pt>
                <c:pt idx="626">
                  <c:v>0.06184028602335934</c:v>
                </c:pt>
                <c:pt idx="627">
                  <c:v>0.08689376150483086</c:v>
                </c:pt>
                <c:pt idx="628">
                  <c:v>0.08689376150483086</c:v>
                </c:pt>
                <c:pt idx="629">
                  <c:v>0.08689376150483086</c:v>
                </c:pt>
                <c:pt idx="630">
                  <c:v>0.0848883087098753</c:v>
                </c:pt>
                <c:pt idx="631">
                  <c:v>0.08237853298110509</c:v>
                </c:pt>
                <c:pt idx="632">
                  <c:v>0.0761112296510178</c:v>
                </c:pt>
                <c:pt idx="633">
                  <c:v>0.09562237288566644</c:v>
                </c:pt>
                <c:pt idx="634">
                  <c:v>0.11337697851870088</c:v>
                </c:pt>
                <c:pt idx="635">
                  <c:v>0.11337697851870088</c:v>
                </c:pt>
                <c:pt idx="636">
                  <c:v>0.11337697851870088</c:v>
                </c:pt>
                <c:pt idx="637">
                  <c:v>0.12567828282998939</c:v>
                </c:pt>
                <c:pt idx="638">
                  <c:v>0.1328162546367806</c:v>
                </c:pt>
                <c:pt idx="639">
                  <c:v>0.13817808783933372</c:v>
                </c:pt>
                <c:pt idx="640">
                  <c:v>0.14506869042679282</c:v>
                </c:pt>
                <c:pt idx="641">
                  <c:v>0.15422879454404637</c:v>
                </c:pt>
                <c:pt idx="642">
                  <c:v>0.15422879454404637</c:v>
                </c:pt>
                <c:pt idx="643">
                  <c:v>0.15422879454404637</c:v>
                </c:pt>
                <c:pt idx="644">
                  <c:v>0.16224667228105494</c:v>
                </c:pt>
                <c:pt idx="645">
                  <c:v>0.1486082410295253</c:v>
                </c:pt>
                <c:pt idx="646">
                  <c:v>0.10776725396411146</c:v>
                </c:pt>
                <c:pt idx="647">
                  <c:v>0.12292263325319186</c:v>
                </c:pt>
                <c:pt idx="648">
                  <c:v>0.13654245365872208</c:v>
                </c:pt>
                <c:pt idx="649">
                  <c:v>0.13654245365872208</c:v>
                </c:pt>
                <c:pt idx="650">
                  <c:v>0.13654245365872208</c:v>
                </c:pt>
                <c:pt idx="651">
                  <c:v>0.13512019438159273</c:v>
                </c:pt>
                <c:pt idx="652">
                  <c:v>0.12816196054252216</c:v>
                </c:pt>
                <c:pt idx="653">
                  <c:v>0.012167810867133477</c:v>
                </c:pt>
                <c:pt idx="654">
                  <c:v>0.011236801753887304</c:v>
                </c:pt>
                <c:pt idx="655">
                  <c:v>0.015187827565915857</c:v>
                </c:pt>
                <c:pt idx="656">
                  <c:v>0.015187827565915857</c:v>
                </c:pt>
                <c:pt idx="657">
                  <c:v>0.015187827565915857</c:v>
                </c:pt>
                <c:pt idx="658">
                  <c:v>-0.028743652040671197</c:v>
                </c:pt>
                <c:pt idx="659">
                  <c:v>-0.011421322949548007</c:v>
                </c:pt>
                <c:pt idx="660">
                  <c:v>0.002369866137199139</c:v>
                </c:pt>
                <c:pt idx="661">
                  <c:v>0.00424625112560828</c:v>
                </c:pt>
                <c:pt idx="662">
                  <c:v>0.023520279444070757</c:v>
                </c:pt>
                <c:pt idx="663">
                  <c:v>0.023520279444070757</c:v>
                </c:pt>
                <c:pt idx="664">
                  <c:v>0.023520279444070757</c:v>
                </c:pt>
                <c:pt idx="665">
                  <c:v>0.032718098017207486</c:v>
                </c:pt>
                <c:pt idx="666">
                  <c:v>0.047196026036395056</c:v>
                </c:pt>
                <c:pt idx="667">
                  <c:v>0.04361231148913136</c:v>
                </c:pt>
                <c:pt idx="668">
                  <c:v>0.01689742590967791</c:v>
                </c:pt>
                <c:pt idx="669">
                  <c:v>0.06157121516318309</c:v>
                </c:pt>
                <c:pt idx="670">
                  <c:v>0.06157121516318309</c:v>
                </c:pt>
                <c:pt idx="671">
                  <c:v>0.06157121516318309</c:v>
                </c:pt>
                <c:pt idx="672">
                  <c:v>0.03706457370801619</c:v>
                </c:pt>
                <c:pt idx="673">
                  <c:v>0.06123243377336518</c:v>
                </c:pt>
                <c:pt idx="674">
                  <c:v>0.08327285505260584</c:v>
                </c:pt>
                <c:pt idx="675">
                  <c:v>0.09187409124441648</c:v>
                </c:pt>
                <c:pt idx="676">
                  <c:v>0.10203478033909086</c:v>
                </c:pt>
                <c:pt idx="677">
                  <c:v>0.10203478033909086</c:v>
                </c:pt>
                <c:pt idx="678">
                  <c:v>0.10203478033909086</c:v>
                </c:pt>
                <c:pt idx="679">
                  <c:v>0.11284878649747787</c:v>
                </c:pt>
                <c:pt idx="680">
                  <c:v>0.1378038412513456</c:v>
                </c:pt>
                <c:pt idx="681">
                  <c:v>0.14181767700587944</c:v>
                </c:pt>
                <c:pt idx="682">
                  <c:v>0.1430486730631022</c:v>
                </c:pt>
                <c:pt idx="683">
                  <c:v>0.15707595652803574</c:v>
                </c:pt>
                <c:pt idx="684">
                  <c:v>0.15707595652803574</c:v>
                </c:pt>
                <c:pt idx="685">
                  <c:v>0.15707595652803574</c:v>
                </c:pt>
                <c:pt idx="686">
                  <c:v>0.1723767382345529</c:v>
                </c:pt>
                <c:pt idx="687">
                  <c:v>0.17317000218637824</c:v>
                </c:pt>
                <c:pt idx="688">
                  <c:v>0.16963829552626408</c:v>
                </c:pt>
                <c:pt idx="689">
                  <c:v>0.12040293245537259</c:v>
                </c:pt>
                <c:pt idx="690">
                  <c:v>0.11970288170930288</c:v>
                </c:pt>
                <c:pt idx="691">
                  <c:v>0.11970288170930288</c:v>
                </c:pt>
                <c:pt idx="692">
                  <c:v>0.11970288170930288</c:v>
                </c:pt>
                <c:pt idx="693">
                  <c:v>0.12625463678683801</c:v>
                </c:pt>
                <c:pt idx="694">
                  <c:v>0.14172417682138794</c:v>
                </c:pt>
                <c:pt idx="695">
                  <c:v>0.12858326222635474</c:v>
                </c:pt>
                <c:pt idx="696">
                  <c:v>0.1389130378152681</c:v>
                </c:pt>
                <c:pt idx="697">
                  <c:v>0.13724543719592774</c:v>
                </c:pt>
                <c:pt idx="698">
                  <c:v>0.13724543719592774</c:v>
                </c:pt>
                <c:pt idx="699">
                  <c:v>0.13724543719592774</c:v>
                </c:pt>
                <c:pt idx="700">
                  <c:v>0.1427318942121183</c:v>
                </c:pt>
                <c:pt idx="701">
                  <c:v>0.16445988349547913</c:v>
                </c:pt>
                <c:pt idx="702">
                  <c:v>0.12796723061786408</c:v>
                </c:pt>
                <c:pt idx="703">
                  <c:v>0.11538910053637608</c:v>
                </c:pt>
                <c:pt idx="704">
                  <c:v>0.1169773912522496</c:v>
                </c:pt>
                <c:pt idx="705">
                  <c:v>0.1169773912522496</c:v>
                </c:pt>
                <c:pt idx="706">
                  <c:v>0.1169773912522496</c:v>
                </c:pt>
                <c:pt idx="707">
                  <c:v>0.12906019071668884</c:v>
                </c:pt>
                <c:pt idx="708">
                  <c:v>0.12503690516696642</c:v>
                </c:pt>
                <c:pt idx="709">
                  <c:v>0.12604511187146583</c:v>
                </c:pt>
                <c:pt idx="710">
                  <c:v>0.12395488272828481</c:v>
                </c:pt>
                <c:pt idx="711">
                  <c:v>0.12347554944302774</c:v>
                </c:pt>
                <c:pt idx="712">
                  <c:v>0.12347554944302774</c:v>
                </c:pt>
                <c:pt idx="713">
                  <c:v>0.12347554944302774</c:v>
                </c:pt>
                <c:pt idx="714">
                  <c:v>0.11518502765095118</c:v>
                </c:pt>
                <c:pt idx="715">
                  <c:v>0.12349950818475497</c:v>
                </c:pt>
                <c:pt idx="716">
                  <c:v>0.13170489103875194</c:v>
                </c:pt>
                <c:pt idx="717">
                  <c:v>0.11864895327313185</c:v>
                </c:pt>
                <c:pt idx="718">
                  <c:v>0.13271119706714885</c:v>
                </c:pt>
                <c:pt idx="719">
                  <c:v>0.13271119706714885</c:v>
                </c:pt>
                <c:pt idx="720">
                  <c:v>0.13271119706714885</c:v>
                </c:pt>
                <c:pt idx="721">
                  <c:v>0.1509493542770597</c:v>
                </c:pt>
                <c:pt idx="722">
                  <c:v>0.17119172250219394</c:v>
                </c:pt>
                <c:pt idx="723">
                  <c:v>0.1871097714441936</c:v>
                </c:pt>
                <c:pt idx="724">
                  <c:v>0.18150286349767186</c:v>
                </c:pt>
                <c:pt idx="725">
                  <c:v>0.19603464208793153</c:v>
                </c:pt>
                <c:pt idx="726">
                  <c:v>0.19603464208793153</c:v>
                </c:pt>
                <c:pt idx="727">
                  <c:v>0.19603464208793153</c:v>
                </c:pt>
                <c:pt idx="728">
                  <c:v>0.20430912580521254</c:v>
                </c:pt>
                <c:pt idx="729">
                  <c:v>0.198652910120789</c:v>
                </c:pt>
                <c:pt idx="730">
                  <c:v>0.20151688821031777</c:v>
                </c:pt>
                <c:pt idx="731">
                  <c:v>0.2000263345290545</c:v>
                </c:pt>
                <c:pt idx="732">
                  <c:v>0.2113561242314379</c:v>
                </c:pt>
                <c:pt idx="733">
                  <c:v>0.2113561242314379</c:v>
                </c:pt>
                <c:pt idx="734">
                  <c:v>0.2113561242314379</c:v>
                </c:pt>
                <c:pt idx="735">
                  <c:v>0.22211968792104564</c:v>
                </c:pt>
                <c:pt idx="736">
                  <c:v>0.22476534286986194</c:v>
                </c:pt>
                <c:pt idx="737">
                  <c:v>0.23015138267577706</c:v>
                </c:pt>
                <c:pt idx="738">
                  <c:v>0.2450771626240733</c:v>
                </c:pt>
                <c:pt idx="739">
                  <c:v>0.20466070856488883</c:v>
                </c:pt>
                <c:pt idx="740">
                  <c:v>0.20466070856488883</c:v>
                </c:pt>
                <c:pt idx="741">
                  <c:v>0.20466070856488883</c:v>
                </c:pt>
                <c:pt idx="742">
                  <c:v>0.19561105902791764</c:v>
                </c:pt>
                <c:pt idx="743">
                  <c:v>0.20356464430516064</c:v>
                </c:pt>
                <c:pt idx="744">
                  <c:v>0.19893138046037828</c:v>
                </c:pt>
                <c:pt idx="745">
                  <c:v>0.19105279118123164</c:v>
                </c:pt>
                <c:pt idx="746">
                  <c:v>0.19327642203036421</c:v>
                </c:pt>
                <c:pt idx="747">
                  <c:v>0.19327642203036421</c:v>
                </c:pt>
                <c:pt idx="748">
                  <c:v>0.19327642203036421</c:v>
                </c:pt>
                <c:pt idx="749">
                  <c:v>0.19270229618016632</c:v>
                </c:pt>
                <c:pt idx="750">
                  <c:v>0.18601354796063618</c:v>
                </c:pt>
                <c:pt idx="751">
                  <c:v>0.1856640359960684</c:v>
                </c:pt>
                <c:pt idx="752">
                  <c:v>0.17716552663814644</c:v>
                </c:pt>
                <c:pt idx="753">
                  <c:v>0.17568038382007067</c:v>
                </c:pt>
                <c:pt idx="754">
                  <c:v>0.17568038382007067</c:v>
                </c:pt>
                <c:pt idx="755">
                  <c:v>0.17568038382007067</c:v>
                </c:pt>
                <c:pt idx="756">
                  <c:v>0.18128459464580327</c:v>
                </c:pt>
                <c:pt idx="757">
                  <c:v>0.1691861246001125</c:v>
                </c:pt>
                <c:pt idx="758">
                  <c:v>0.18375613635741317</c:v>
                </c:pt>
                <c:pt idx="759">
                  <c:v>0.18657145837032796</c:v>
                </c:pt>
                <c:pt idx="760">
                  <c:v>0.201901652356818</c:v>
                </c:pt>
                <c:pt idx="761">
                  <c:v>0.201901652356818</c:v>
                </c:pt>
                <c:pt idx="762">
                  <c:v>0.201901652356818</c:v>
                </c:pt>
                <c:pt idx="763">
                  <c:v>0.2070108279994045</c:v>
                </c:pt>
                <c:pt idx="764">
                  <c:v>0.2295146550859435</c:v>
                </c:pt>
                <c:pt idx="765">
                  <c:v>0.23469979950320186</c:v>
                </c:pt>
                <c:pt idx="766">
                  <c:v>0.23048921117358567</c:v>
                </c:pt>
                <c:pt idx="767">
                  <c:v>0.22050561366767663</c:v>
                </c:pt>
                <c:pt idx="768">
                  <c:v>0.22050561366767663</c:v>
                </c:pt>
                <c:pt idx="769">
                  <c:v>0.22050561366767663</c:v>
                </c:pt>
                <c:pt idx="770">
                  <c:v>0.22353309726542325</c:v>
                </c:pt>
                <c:pt idx="771">
                  <c:v>0.22103487948914324</c:v>
                </c:pt>
                <c:pt idx="772">
                  <c:v>0.21160067353998935</c:v>
                </c:pt>
                <c:pt idx="773">
                  <c:v>0.21176203949835148</c:v>
                </c:pt>
                <c:pt idx="774">
                  <c:v>0.1916504530267804</c:v>
                </c:pt>
                <c:pt idx="775">
                  <c:v>0.1916504530267804</c:v>
                </c:pt>
                <c:pt idx="776">
                  <c:v>0.1916504530267804</c:v>
                </c:pt>
                <c:pt idx="777">
                  <c:v>0.1933632813329409</c:v>
                </c:pt>
                <c:pt idx="778">
                  <c:v>0.20773771918226624</c:v>
                </c:pt>
                <c:pt idx="779">
                  <c:v>0.1940175988718955</c:v>
                </c:pt>
                <c:pt idx="780">
                  <c:v>0.18889890365325424</c:v>
                </c:pt>
                <c:pt idx="781">
                  <c:v>0.19005921683174165</c:v>
                </c:pt>
                <c:pt idx="782">
                  <c:v>0.19005921683174165</c:v>
                </c:pt>
                <c:pt idx="783">
                  <c:v>0.19005921683174165</c:v>
                </c:pt>
                <c:pt idx="784">
                  <c:v>0.20384003527976735</c:v>
                </c:pt>
                <c:pt idx="785">
                  <c:v>0.2137998931662739</c:v>
                </c:pt>
                <c:pt idx="786">
                  <c:v>0.22655871287119145</c:v>
                </c:pt>
                <c:pt idx="787">
                  <c:v>0.25465853597232413</c:v>
                </c:pt>
                <c:pt idx="788">
                  <c:v>0.26902923946225665</c:v>
                </c:pt>
                <c:pt idx="789">
                  <c:v>0.26902923946225665</c:v>
                </c:pt>
                <c:pt idx="790">
                  <c:v>0.26902923946225665</c:v>
                </c:pt>
                <c:pt idx="791">
                  <c:v>0.2676816533308075</c:v>
                </c:pt>
                <c:pt idx="792">
                  <c:v>0.2744488826276039</c:v>
                </c:pt>
                <c:pt idx="793">
                  <c:v>0.29063852889351205</c:v>
                </c:pt>
                <c:pt idx="794">
                  <c:v>0.28754671589543634</c:v>
                </c:pt>
                <c:pt idx="795">
                  <c:v>0.3145019109692122</c:v>
                </c:pt>
                <c:pt idx="796">
                  <c:v>0.3145019109692122</c:v>
                </c:pt>
                <c:pt idx="797">
                  <c:v>0.3145019109692122</c:v>
                </c:pt>
                <c:pt idx="798">
                  <c:v>0.3144233125588667</c:v>
                </c:pt>
                <c:pt idx="799">
                  <c:v>0.3479934509229021</c:v>
                </c:pt>
                <c:pt idx="800">
                  <c:v>0.3561034373430765</c:v>
                </c:pt>
                <c:pt idx="801">
                  <c:v>0.36274407911003026</c:v>
                </c:pt>
                <c:pt idx="802">
                  <c:v>0.37452150616362023</c:v>
                </c:pt>
                <c:pt idx="803">
                  <c:v>0.37452150616362023</c:v>
                </c:pt>
                <c:pt idx="804">
                  <c:v>0.37452150616362023</c:v>
                </c:pt>
                <c:pt idx="805">
                  <c:v>0.38258306881019744</c:v>
                </c:pt>
                <c:pt idx="806">
                  <c:v>0.38665570114090175</c:v>
                </c:pt>
                <c:pt idx="807">
                  <c:v>0.3933141851751074</c:v>
                </c:pt>
                <c:pt idx="808">
                  <c:v>0.3946624635247242</c:v>
                </c:pt>
                <c:pt idx="809">
                  <c:v>0.4028350538664902</c:v>
                </c:pt>
                <c:pt idx="810">
                  <c:v>0.4028350538664902</c:v>
                </c:pt>
                <c:pt idx="811">
                  <c:v>0.4028350538664902</c:v>
                </c:pt>
                <c:pt idx="812">
                  <c:v>0.40403298855988035</c:v>
                </c:pt>
                <c:pt idx="813">
                  <c:v>0.41274805858066976</c:v>
                </c:pt>
                <c:pt idx="814">
                  <c:v>0.41498172545184864</c:v>
                </c:pt>
                <c:pt idx="815">
                  <c:v>0.4261217254256304</c:v>
                </c:pt>
                <c:pt idx="816">
                  <c:v>0.4357425409627953</c:v>
                </c:pt>
                <c:pt idx="817">
                  <c:v>0.4357425409627953</c:v>
                </c:pt>
                <c:pt idx="818">
                  <c:v>0.4357425409627953</c:v>
                </c:pt>
                <c:pt idx="819">
                  <c:v>0.4292442270029453</c:v>
                </c:pt>
                <c:pt idx="820">
                  <c:v>0.43071606732548284</c:v>
                </c:pt>
                <c:pt idx="821">
                  <c:v>0.43608023064127854</c:v>
                </c:pt>
                <c:pt idx="822">
                  <c:v>0.4520057146562897</c:v>
                </c:pt>
                <c:pt idx="823">
                  <c:v>0.4694836721135167</c:v>
                </c:pt>
                <c:pt idx="824">
                  <c:v>0.4694836721135167</c:v>
                </c:pt>
                <c:pt idx="825">
                  <c:v>0.4694836721135167</c:v>
                </c:pt>
                <c:pt idx="826">
                  <c:v>0.4668424515125005</c:v>
                </c:pt>
                <c:pt idx="827">
                  <c:v>0.48268024455630654</c:v>
                </c:pt>
                <c:pt idx="828">
                  <c:v>0.5064285461635962</c:v>
                </c:pt>
                <c:pt idx="829">
                  <c:v>0.5208971444574151</c:v>
                </c:pt>
                <c:pt idx="830">
                  <c:v>0.5215752228102717</c:v>
                </c:pt>
                <c:pt idx="831">
                  <c:v>0.5215752228102717</c:v>
                </c:pt>
                <c:pt idx="832">
                  <c:v>0.5215752228102717</c:v>
                </c:pt>
                <c:pt idx="833">
                  <c:v>0.5544060205383261</c:v>
                </c:pt>
                <c:pt idx="834">
                  <c:v>0.5648625832651284</c:v>
                </c:pt>
                <c:pt idx="835">
                  <c:v>0.551232277659653</c:v>
                </c:pt>
                <c:pt idx="836">
                  <c:v>0.5813755163615877</c:v>
                </c:pt>
                <c:pt idx="837">
                  <c:v>0.5846397223525663</c:v>
                </c:pt>
                <c:pt idx="838">
                  <c:v>0.5846397223525663</c:v>
                </c:pt>
                <c:pt idx="839">
                  <c:v>0.5846397223525663</c:v>
                </c:pt>
                <c:pt idx="840">
                  <c:v>0.5914274842201501</c:v>
                </c:pt>
                <c:pt idx="841">
                  <c:v>0.5991345825666932</c:v>
                </c:pt>
                <c:pt idx="842">
                  <c:v>0.6047739926738778</c:v>
                </c:pt>
                <c:pt idx="843">
                  <c:v>0.6100459556027975</c:v>
                </c:pt>
                <c:pt idx="844">
                  <c:v>0.6255579620706526</c:v>
                </c:pt>
                <c:pt idx="845">
                  <c:v>0.6255579620706526</c:v>
                </c:pt>
                <c:pt idx="846">
                  <c:v>0.6255579620706526</c:v>
                </c:pt>
                <c:pt idx="847">
                  <c:v>0.6234673749857482</c:v>
                </c:pt>
                <c:pt idx="848">
                  <c:v>0.611046165807583</c:v>
                </c:pt>
                <c:pt idx="849">
                  <c:v>0.593593414678306</c:v>
                </c:pt>
                <c:pt idx="850">
                  <c:v>0.5930191277326164</c:v>
                </c:pt>
                <c:pt idx="851">
                  <c:v>0.595748906236194</c:v>
                </c:pt>
                <c:pt idx="852">
                  <c:v>0.595748906236194</c:v>
                </c:pt>
                <c:pt idx="853">
                  <c:v>0.595748906236194</c:v>
                </c:pt>
                <c:pt idx="854">
                  <c:v>0.6121184673263844</c:v>
                </c:pt>
                <c:pt idx="855">
                  <c:v>0.6181769316104082</c:v>
                </c:pt>
                <c:pt idx="856">
                  <c:v>0.6272265472948444</c:v>
                </c:pt>
                <c:pt idx="857">
                  <c:v>0.6300326375433809</c:v>
                </c:pt>
                <c:pt idx="858">
                  <c:v>0.6400027412279314</c:v>
                </c:pt>
                <c:pt idx="859">
                  <c:v>0.6400027412279314</c:v>
                </c:pt>
                <c:pt idx="860">
                  <c:v>0.6400027412279314</c:v>
                </c:pt>
                <c:pt idx="861">
                  <c:v>0.637494297381608</c:v>
                </c:pt>
                <c:pt idx="862">
                  <c:v>0.6262826930910628</c:v>
                </c:pt>
                <c:pt idx="863">
                  <c:v>0.6230098361537746</c:v>
                </c:pt>
                <c:pt idx="864">
                  <c:v>0.6363351497925316</c:v>
                </c:pt>
                <c:pt idx="865">
                  <c:v>0.658492453126021</c:v>
                </c:pt>
                <c:pt idx="866">
                  <c:v>0.658492453126021</c:v>
                </c:pt>
                <c:pt idx="867">
                  <c:v>0.658492453126021</c:v>
                </c:pt>
                <c:pt idx="868">
                  <c:v>0.6635838610334694</c:v>
                </c:pt>
                <c:pt idx="869">
                  <c:v>0.6721851876855238</c:v>
                </c:pt>
                <c:pt idx="870">
                  <c:v>0.682583754163572</c:v>
                </c:pt>
                <c:pt idx="871">
                  <c:v>0.6996071602798677</c:v>
                </c:pt>
                <c:pt idx="872">
                  <c:v>0.7083325802373495</c:v>
                </c:pt>
                <c:pt idx="873">
                  <c:v>0.7083325802373495</c:v>
                </c:pt>
                <c:pt idx="874">
                  <c:v>0.7083325802373495</c:v>
                </c:pt>
                <c:pt idx="875">
                  <c:v>0.7255506914709917</c:v>
                </c:pt>
                <c:pt idx="876">
                  <c:v>0.7279687091989488</c:v>
                </c:pt>
                <c:pt idx="877">
                  <c:v>0.7094014777417028</c:v>
                </c:pt>
                <c:pt idx="878">
                  <c:v>0.7277436884429176</c:v>
                </c:pt>
                <c:pt idx="879">
                  <c:v>0.7437631219442575</c:v>
                </c:pt>
                <c:pt idx="880">
                  <c:v>0.7437631219442575</c:v>
                </c:pt>
                <c:pt idx="881">
                  <c:v>0.7437631219442575</c:v>
                </c:pt>
                <c:pt idx="882">
                  <c:v>0.7535465589490131</c:v>
                </c:pt>
                <c:pt idx="883">
                  <c:v>0.7464131020077418</c:v>
                </c:pt>
                <c:pt idx="884">
                  <c:v>0.7512699098562825</c:v>
                </c:pt>
                <c:pt idx="885">
                  <c:v>0.7403726587391735</c:v>
                </c:pt>
                <c:pt idx="886">
                  <c:v>0.7502185902875564</c:v>
                </c:pt>
                <c:pt idx="887">
                  <c:v>0.7502185902875564</c:v>
                </c:pt>
                <c:pt idx="888">
                  <c:v>0.7502185902875564</c:v>
                </c:pt>
                <c:pt idx="889">
                  <c:v>0.749891062488051</c:v>
                </c:pt>
                <c:pt idx="890">
                  <c:v>0.7234854213663586</c:v>
                </c:pt>
                <c:pt idx="891">
                  <c:v>0.7362292952240552</c:v>
                </c:pt>
                <c:pt idx="892">
                  <c:v>0.7469229721462252</c:v>
                </c:pt>
                <c:pt idx="893">
                  <c:v>0.7125067839052608</c:v>
                </c:pt>
                <c:pt idx="894">
                  <c:v>0.7125067839052608</c:v>
                </c:pt>
                <c:pt idx="895">
                  <c:v>0.7125067839052608</c:v>
                </c:pt>
                <c:pt idx="896">
                  <c:v>0.610667924598375</c:v>
                </c:pt>
                <c:pt idx="897">
                  <c:v>0.4838407967901046</c:v>
                </c:pt>
                <c:pt idx="898">
                  <c:v>0.4748551948690165</c:v>
                </c:pt>
                <c:pt idx="899">
                  <c:v>0.5067526273048915</c:v>
                </c:pt>
                <c:pt idx="900">
                  <c:v>0.5079268029064286</c:v>
                </c:pt>
                <c:pt idx="901">
                  <c:v>0.5079268029064286</c:v>
                </c:pt>
                <c:pt idx="902">
                  <c:v>0.5079268029064286</c:v>
                </c:pt>
                <c:pt idx="903">
                  <c:v>0.5118611236261703</c:v>
                </c:pt>
                <c:pt idx="904">
                  <c:v>0.5158450476997631</c:v>
                </c:pt>
                <c:pt idx="905">
                  <c:v>0.5241365863180618</c:v>
                </c:pt>
                <c:pt idx="906">
                  <c:v>0.5289538211886082</c:v>
                </c:pt>
                <c:pt idx="907">
                  <c:v>0.5709782117258169</c:v>
                </c:pt>
                <c:pt idx="908">
                  <c:v>0.5709782117258169</c:v>
                </c:pt>
                <c:pt idx="909">
                  <c:v>0.5709782117258169</c:v>
                </c:pt>
                <c:pt idx="910">
                  <c:v>0.5627739152325761</c:v>
                </c:pt>
                <c:pt idx="911">
                  <c:v>0.5623989244454852</c:v>
                </c:pt>
                <c:pt idx="912">
                  <c:v>0.5844091403277705</c:v>
                </c:pt>
                <c:pt idx="913">
                  <c:v>0.6071418734201617</c:v>
                </c:pt>
                <c:pt idx="914">
                  <c:v>0.6090539443928293</c:v>
                </c:pt>
                <c:pt idx="915">
                  <c:v>0.6090539443928293</c:v>
                </c:pt>
                <c:pt idx="916">
                  <c:v>0.6090539443928293</c:v>
                </c:pt>
                <c:pt idx="917">
                  <c:v>0.6106610834812061</c:v>
                </c:pt>
                <c:pt idx="918">
                  <c:v>0.6430819693778012</c:v>
                </c:pt>
                <c:pt idx="919">
                  <c:v>0.6570304104785303</c:v>
                </c:pt>
                <c:pt idx="920">
                  <c:v>0.6574205587662156</c:v>
                </c:pt>
                <c:pt idx="921">
                  <c:v>0.6612935367787434</c:v>
                </c:pt>
                <c:pt idx="922">
                  <c:v>0.6612935367787434</c:v>
                </c:pt>
                <c:pt idx="923">
                  <c:v>0.6612935367787434</c:v>
                </c:pt>
                <c:pt idx="924">
                  <c:v>0.6798299973270763</c:v>
                </c:pt>
                <c:pt idx="925">
                  <c:v>0.7214437385250034</c:v>
                </c:pt>
                <c:pt idx="926">
                  <c:v>0.7467114726024675</c:v>
                </c:pt>
                <c:pt idx="927">
                  <c:v>0.7591389688283168</c:v>
                </c:pt>
                <c:pt idx="928">
                  <c:v>0.7733573236866287</c:v>
                </c:pt>
                <c:pt idx="929">
                  <c:v>0.7733573236866287</c:v>
                </c:pt>
                <c:pt idx="930">
                  <c:v>0.7733573236866287</c:v>
                </c:pt>
                <c:pt idx="931">
                  <c:v>0.7721155680646585</c:v>
                </c:pt>
                <c:pt idx="932">
                  <c:v>0.8111793115873569</c:v>
                </c:pt>
                <c:pt idx="933">
                  <c:v>0.7330493876261754</c:v>
                </c:pt>
                <c:pt idx="934">
                  <c:v>0.7190358441565623</c:v>
                </c:pt>
                <c:pt idx="935">
                  <c:v>0.6892603638867143</c:v>
                </c:pt>
                <c:pt idx="936">
                  <c:v>0.6892603638867143</c:v>
                </c:pt>
                <c:pt idx="937">
                  <c:v>0.6892603638867143</c:v>
                </c:pt>
                <c:pt idx="938">
                  <c:v>0.6992680546002406</c:v>
                </c:pt>
                <c:pt idx="939">
                  <c:v>0.6907412157057968</c:v>
                </c:pt>
                <c:pt idx="940">
                  <c:v>0.6779612721519832</c:v>
                </c:pt>
                <c:pt idx="941">
                  <c:v>0.6533005671210452</c:v>
                </c:pt>
                <c:pt idx="942">
                  <c:v>0.6705010378789262</c:v>
                </c:pt>
                <c:pt idx="943">
                  <c:v>0.6705010378789262</c:v>
                </c:pt>
                <c:pt idx="944">
                  <c:v>0.6705010378789262</c:v>
                </c:pt>
                <c:pt idx="945">
                  <c:v>0.6666367529605242</c:v>
                </c:pt>
                <c:pt idx="946">
                  <c:v>0.6654487627696808</c:v>
                </c:pt>
                <c:pt idx="947">
                  <c:v>0.6609023304538812</c:v>
                </c:pt>
                <c:pt idx="948">
                  <c:v>0.6725422121133806</c:v>
                </c:pt>
                <c:pt idx="949">
                  <c:v>0.6584597054832022</c:v>
                </c:pt>
                <c:pt idx="950">
                  <c:v>0.6584597054832022</c:v>
                </c:pt>
                <c:pt idx="951">
                  <c:v>0.6584597054832022</c:v>
                </c:pt>
                <c:pt idx="952">
                  <c:v>0.6382763301322314</c:v>
                </c:pt>
                <c:pt idx="953">
                  <c:v>0.6392089182091525</c:v>
                </c:pt>
                <c:pt idx="954">
                  <c:v>0.6332497076714294</c:v>
                </c:pt>
                <c:pt idx="955">
                  <c:v>0.6403089001437818</c:v>
                </c:pt>
                <c:pt idx="956">
                  <c:v>0.653938476135945</c:v>
                </c:pt>
                <c:pt idx="957">
                  <c:v>0.653938476135945</c:v>
                </c:pt>
                <c:pt idx="958">
                  <c:v>0.653938476135945</c:v>
                </c:pt>
                <c:pt idx="959">
                  <c:v>0.6737036402392982</c:v>
                </c:pt>
                <c:pt idx="960">
                  <c:v>0.7074743322106474</c:v>
                </c:pt>
                <c:pt idx="961">
                  <c:v>0.7063300260653114</c:v>
                </c:pt>
                <c:pt idx="962">
                  <c:v>0.7198745682917991</c:v>
                </c:pt>
                <c:pt idx="963">
                  <c:v>0.7490307686880033</c:v>
                </c:pt>
                <c:pt idx="964">
                  <c:v>0.7490307686880033</c:v>
                </c:pt>
                <c:pt idx="965">
                  <c:v>0.7490307686880033</c:v>
                </c:pt>
                <c:pt idx="966">
                  <c:v>0.7726221954226549</c:v>
                </c:pt>
                <c:pt idx="967">
                  <c:v>0.7510029939879073</c:v>
                </c:pt>
                <c:pt idx="968">
                  <c:v>0.755765167363539</c:v>
                </c:pt>
                <c:pt idx="969">
                  <c:v>0.7767608319536665</c:v>
                </c:pt>
                <c:pt idx="970">
                  <c:v>0.8068359046227722</c:v>
                </c:pt>
                <c:pt idx="971">
                  <c:v>0.8068359046227722</c:v>
                </c:pt>
                <c:pt idx="972">
                  <c:v>0.8068359046227722</c:v>
                </c:pt>
                <c:pt idx="973">
                  <c:v>0.8227869957416885</c:v>
                </c:pt>
                <c:pt idx="974">
                  <c:v>0.840196889859889</c:v>
                </c:pt>
                <c:pt idx="975">
                  <c:v>0.8343358322179542</c:v>
                </c:pt>
                <c:pt idx="976">
                  <c:v>0.8608786633925658</c:v>
                </c:pt>
                <c:pt idx="977">
                  <c:v>0.8665557773639738</c:v>
                </c:pt>
                <c:pt idx="978">
                  <c:v>0.8665557773639738</c:v>
                </c:pt>
                <c:pt idx="979">
                  <c:v>0.8665557773639738</c:v>
                </c:pt>
                <c:pt idx="980">
                  <c:v>0.868892449280996</c:v>
                </c:pt>
                <c:pt idx="981">
                  <c:v>0.7638947468538837</c:v>
                </c:pt>
                <c:pt idx="982">
                  <c:v>0.7357570398383613</c:v>
                </c:pt>
                <c:pt idx="983">
                  <c:v>0.7737698650738964</c:v>
                </c:pt>
                <c:pt idx="984">
                  <c:v>0.7538401770990133</c:v>
                </c:pt>
                <c:pt idx="985">
                  <c:v>0.7538401770990133</c:v>
                </c:pt>
                <c:pt idx="986">
                  <c:v>0.7538401770990133</c:v>
                </c:pt>
                <c:pt idx="987">
                  <c:v>0.7629924995089907</c:v>
                </c:pt>
                <c:pt idx="988">
                  <c:v>0.7952576205826984</c:v>
                </c:pt>
                <c:pt idx="989">
                  <c:v>0.785321491146127</c:v>
                </c:pt>
                <c:pt idx="990">
                  <c:v>0.7913953888997873</c:v>
                </c:pt>
                <c:pt idx="991">
                  <c:v>0.8297548456351898</c:v>
                </c:pt>
                <c:pt idx="992">
                  <c:v>0.8297548456351898</c:v>
                </c:pt>
                <c:pt idx="993">
                  <c:v>0.8297548456351898</c:v>
                </c:pt>
                <c:pt idx="994">
                  <c:v>0.8424017309695233</c:v>
                </c:pt>
                <c:pt idx="995">
                  <c:v>0.8509958494558034</c:v>
                </c:pt>
                <c:pt idx="996">
                  <c:v>0.8460619269387366</c:v>
                </c:pt>
                <c:pt idx="997">
                  <c:v>0.8568472305064185</c:v>
                </c:pt>
                <c:pt idx="998">
                  <c:v>0.8677913067714724</c:v>
                </c:pt>
                <c:pt idx="999">
                  <c:v>0.8677913067714724</c:v>
                </c:pt>
                <c:pt idx="1000">
                  <c:v>0.8677913067714724</c:v>
                </c:pt>
                <c:pt idx="1001">
                  <c:v>0.7735629030128972</c:v>
                </c:pt>
                <c:pt idx="1002">
                  <c:v>0.7878785238578789</c:v>
                </c:pt>
                <c:pt idx="1003">
                  <c:v>0.8197896569095082</c:v>
                </c:pt>
                <c:pt idx="1004">
                  <c:v>0.830342252057565</c:v>
                </c:pt>
                <c:pt idx="1005">
                  <c:v>0.817740457364255</c:v>
                </c:pt>
                <c:pt idx="1006">
                  <c:v>0.817740457364255</c:v>
                </c:pt>
                <c:pt idx="1007">
                  <c:v>0.817740457364255</c:v>
                </c:pt>
                <c:pt idx="1008">
                  <c:v>0.8447932221705816</c:v>
                </c:pt>
                <c:pt idx="1009">
                  <c:v>0.8328940842474808</c:v>
                </c:pt>
                <c:pt idx="1010">
                  <c:v>0.8421822671983767</c:v>
                </c:pt>
                <c:pt idx="1011">
                  <c:v>0.8512794244699244</c:v>
                </c:pt>
                <c:pt idx="1012">
                  <c:v>0.8414425227767599</c:v>
                </c:pt>
                <c:pt idx="1013">
                  <c:v>0.8414425227767599</c:v>
                </c:pt>
                <c:pt idx="1014">
                  <c:v>0.8414425227767599</c:v>
                </c:pt>
                <c:pt idx="1015">
                  <c:v>0.8334274778674462</c:v>
                </c:pt>
                <c:pt idx="1016">
                  <c:v>0.8174769332074023</c:v>
                </c:pt>
                <c:pt idx="1017">
                  <c:v>0.8181464845955118</c:v>
                </c:pt>
                <c:pt idx="1018">
                  <c:v>0.7937083375873573</c:v>
                </c:pt>
                <c:pt idx="1019">
                  <c:v>0.7820422454619271</c:v>
                </c:pt>
                <c:pt idx="1020">
                  <c:v>0.7820422454619271</c:v>
                </c:pt>
                <c:pt idx="1021">
                  <c:v>0.7820422454619271</c:v>
                </c:pt>
                <c:pt idx="1022">
                  <c:v>0.7821809496299967</c:v>
                </c:pt>
                <c:pt idx="1023">
                  <c:v>0.7893960351775966</c:v>
                </c:pt>
                <c:pt idx="1024">
                  <c:v>0.8092334246848907</c:v>
                </c:pt>
                <c:pt idx="1025">
                  <c:v>0.8183727147453783</c:v>
                </c:pt>
                <c:pt idx="1026">
                  <c:v>0.8046172059138126</c:v>
                </c:pt>
                <c:pt idx="1027">
                  <c:v>0.8046172059138126</c:v>
                </c:pt>
                <c:pt idx="1028">
                  <c:v>0.8046172059138126</c:v>
                </c:pt>
                <c:pt idx="1029">
                  <c:v>0.685755663260359</c:v>
                </c:pt>
                <c:pt idx="1030">
                  <c:v>0.6928387666946068</c:v>
                </c:pt>
                <c:pt idx="1031">
                  <c:v>0.7136779062338263</c:v>
                </c:pt>
                <c:pt idx="1032">
                  <c:v>0.7226662306628646</c:v>
                </c:pt>
                <c:pt idx="1033">
                  <c:v>0.742422435401497</c:v>
                </c:pt>
                <c:pt idx="1034">
                  <c:v>0.742422435401497</c:v>
                </c:pt>
                <c:pt idx="1035">
                  <c:v>0.742422435401497</c:v>
                </c:pt>
                <c:pt idx="1036">
                  <c:v>0.7557911838639244</c:v>
                </c:pt>
                <c:pt idx="1037">
                  <c:v>0.7614740131104853</c:v>
                </c:pt>
                <c:pt idx="1038">
                  <c:v>0.7873672283514177</c:v>
                </c:pt>
                <c:pt idx="1039">
                  <c:v>0.8257750486890001</c:v>
                </c:pt>
                <c:pt idx="1040">
                  <c:v>0.8392225548201075</c:v>
                </c:pt>
                <c:pt idx="1041">
                  <c:v>0.8392225548201075</c:v>
                </c:pt>
                <c:pt idx="1042">
                  <c:v>0.8392225548201075</c:v>
                </c:pt>
                <c:pt idx="1043">
                  <c:v>0.8465983028633317</c:v>
                </c:pt>
                <c:pt idx="1044">
                  <c:v>0.8651884671358381</c:v>
                </c:pt>
                <c:pt idx="1045">
                  <c:v>0.8601127464216634</c:v>
                </c:pt>
                <c:pt idx="1046">
                  <c:v>0.8576110071683145</c:v>
                </c:pt>
                <c:pt idx="1047">
                  <c:v>0.8714457215781495</c:v>
                </c:pt>
                <c:pt idx="1048">
                  <c:v>0.8714457215781495</c:v>
                </c:pt>
                <c:pt idx="1049">
                  <c:v>0.8714457215781495</c:v>
                </c:pt>
                <c:pt idx="1050">
                  <c:v>0.8256399148778697</c:v>
                </c:pt>
                <c:pt idx="1051">
                  <c:v>0.8488284615862305</c:v>
                </c:pt>
                <c:pt idx="1052">
                  <c:v>0.8109320007172713</c:v>
                </c:pt>
                <c:pt idx="1053">
                  <c:v>0.8117289042724107</c:v>
                </c:pt>
                <c:pt idx="1054">
                  <c:v>0.8372728562032437</c:v>
                </c:pt>
                <c:pt idx="1055">
                  <c:v>0.8372728562032437</c:v>
                </c:pt>
                <c:pt idx="1056">
                  <c:v>0.8372728562032437</c:v>
                </c:pt>
                <c:pt idx="1057">
                  <c:v>0.8367300014803722</c:v>
                </c:pt>
                <c:pt idx="1058">
                  <c:v>0.8342588018283621</c:v>
                </c:pt>
                <c:pt idx="1059">
                  <c:v>0.8822719962391008</c:v>
                </c:pt>
                <c:pt idx="1060">
                  <c:v>0.8229711941663995</c:v>
                </c:pt>
                <c:pt idx="1061">
                  <c:v>0.7762443812450157</c:v>
                </c:pt>
                <c:pt idx="1062">
                  <c:v>0.7762443812450157</c:v>
                </c:pt>
                <c:pt idx="1063">
                  <c:v>0.7762443812450157</c:v>
                </c:pt>
                <c:pt idx="1064">
                  <c:v>0.7155695376592135</c:v>
                </c:pt>
                <c:pt idx="1065">
                  <c:v>0.7426191424462323</c:v>
                </c:pt>
                <c:pt idx="1066">
                  <c:v>0.7470154634290049</c:v>
                </c:pt>
                <c:pt idx="1067">
                  <c:v>0.7787973520238063</c:v>
                </c:pt>
                <c:pt idx="1068">
                  <c:v>0.7979040545990277</c:v>
                </c:pt>
                <c:pt idx="1069">
                  <c:v>0.7979040545990277</c:v>
                </c:pt>
                <c:pt idx="1070">
                  <c:v>0.7979040545990277</c:v>
                </c:pt>
                <c:pt idx="1071">
                  <c:v>0.8012163190499804</c:v>
                </c:pt>
                <c:pt idx="1072">
                  <c:v>0.8345061580876769</c:v>
                </c:pt>
                <c:pt idx="1073">
                  <c:v>0.8349695364718843</c:v>
                </c:pt>
                <c:pt idx="1074">
                  <c:v>0.8717813630324596</c:v>
                </c:pt>
                <c:pt idx="1075">
                  <c:v>0.8883947488185566</c:v>
                </c:pt>
                <c:pt idx="1076">
                  <c:v>0.8883947488185566</c:v>
                </c:pt>
                <c:pt idx="1077">
                  <c:v>0.8883947488185566</c:v>
                </c:pt>
                <c:pt idx="1078">
                  <c:v>0.8900532863457009</c:v>
                </c:pt>
                <c:pt idx="1079">
                  <c:v>0.8528094831621822</c:v>
                </c:pt>
                <c:pt idx="1080">
                  <c:v>0.8648622686585665</c:v>
                </c:pt>
                <c:pt idx="1081">
                  <c:v>0.8689105794493757</c:v>
                </c:pt>
                <c:pt idx="1082">
                  <c:v>0.8995698840598065</c:v>
                </c:pt>
                <c:pt idx="1083">
                  <c:v>0.8995698840598065</c:v>
                </c:pt>
                <c:pt idx="1084">
                  <c:v>0.8995698840598065</c:v>
                </c:pt>
                <c:pt idx="1085">
                  <c:v>0.8928009275480229</c:v>
                </c:pt>
                <c:pt idx="1086">
                  <c:v>0.9151437953262029</c:v>
                </c:pt>
                <c:pt idx="1087">
                  <c:v>0.9025266565025292</c:v>
                </c:pt>
                <c:pt idx="1088">
                  <c:v>0.879318483252487</c:v>
                </c:pt>
                <c:pt idx="1089">
                  <c:v>0.9047041785326742</c:v>
                </c:pt>
                <c:pt idx="1090">
                  <c:v>0.9047041785326742</c:v>
                </c:pt>
                <c:pt idx="1091">
                  <c:v>0.9047041785326742</c:v>
                </c:pt>
                <c:pt idx="1092">
                  <c:v>0.9058497537391805</c:v>
                </c:pt>
                <c:pt idx="1093">
                  <c:v>0.8755117113205522</c:v>
                </c:pt>
                <c:pt idx="1094">
                  <c:v>0.8677249343362687</c:v>
                </c:pt>
                <c:pt idx="1095">
                  <c:v>0.8718309104186601</c:v>
                </c:pt>
                <c:pt idx="1096">
                  <c:v>0.842506958532514</c:v>
                </c:pt>
                <c:pt idx="1097">
                  <c:v>0.842506958532514</c:v>
                </c:pt>
                <c:pt idx="1098">
                  <c:v>0.842506958532514</c:v>
                </c:pt>
                <c:pt idx="1099">
                  <c:v>0.8623559757320494</c:v>
                </c:pt>
                <c:pt idx="1100">
                  <c:v>0.8633933477647135</c:v>
                </c:pt>
                <c:pt idx="1101">
                  <c:v>0.8897003535612071</c:v>
                </c:pt>
                <c:pt idx="1102">
                  <c:v>0.9058504928318738</c:v>
                </c:pt>
                <c:pt idx="1103">
                  <c:v>0.9058243345136332</c:v>
                </c:pt>
                <c:pt idx="1104">
                  <c:v>0.9058243345136332</c:v>
                </c:pt>
                <c:pt idx="1105">
                  <c:v>0.9058243345136332</c:v>
                </c:pt>
                <c:pt idx="1106">
                  <c:v>0.9143005528500323</c:v>
                </c:pt>
                <c:pt idx="1107">
                  <c:v>0.9215647319056102</c:v>
                </c:pt>
                <c:pt idx="1108">
                  <c:v>0.9183799670875823</c:v>
                </c:pt>
                <c:pt idx="1109">
                  <c:v>0.9535928486542635</c:v>
                </c:pt>
                <c:pt idx="1110">
                  <c:v>0.9148828249022878</c:v>
                </c:pt>
                <c:pt idx="1111">
                  <c:v>0.9148828249022878</c:v>
                </c:pt>
                <c:pt idx="1112">
                  <c:v>0.9148828249022878</c:v>
                </c:pt>
                <c:pt idx="1113">
                  <c:v>0.949582762425744</c:v>
                </c:pt>
                <c:pt idx="1114">
                  <c:v>0.9683850725056842</c:v>
                </c:pt>
                <c:pt idx="1115">
                  <c:v>0.962101249981443</c:v>
                </c:pt>
                <c:pt idx="1116">
                  <c:v>0.993449028753423</c:v>
                </c:pt>
                <c:pt idx="1117">
                  <c:v>0.964030672200578</c:v>
                </c:pt>
                <c:pt idx="1118">
                  <c:v>0.964030672200578</c:v>
                </c:pt>
                <c:pt idx="1119">
                  <c:v>0.964030672200578</c:v>
                </c:pt>
                <c:pt idx="1120">
                  <c:v>0.9723435351666099</c:v>
                </c:pt>
                <c:pt idx="1121">
                  <c:v>0.9619059919408688</c:v>
                </c:pt>
                <c:pt idx="1122">
                  <c:v>0.9466051401642537</c:v>
                </c:pt>
                <c:pt idx="1123">
                  <c:v>0.9340694201344</c:v>
                </c:pt>
                <c:pt idx="1124">
                  <c:v>0.967791634290851</c:v>
                </c:pt>
                <c:pt idx="1125">
                  <c:v>0.967791634290851</c:v>
                </c:pt>
                <c:pt idx="1126">
                  <c:v>0.967791634290851</c:v>
                </c:pt>
                <c:pt idx="1127">
                  <c:v>0.9580871611674804</c:v>
                </c:pt>
                <c:pt idx="1128">
                  <c:v>0.967575943826503</c:v>
                </c:pt>
                <c:pt idx="1129">
                  <c:v>0.9786268743986268</c:v>
                </c:pt>
                <c:pt idx="1130">
                  <c:v>0.9689090829080786</c:v>
                </c:pt>
                <c:pt idx="1131">
                  <c:v>0.9911348703431226</c:v>
                </c:pt>
                <c:pt idx="1132">
                  <c:v>0.9911348703431226</c:v>
                </c:pt>
                <c:pt idx="1133">
                  <c:v>0.9911348703431226</c:v>
                </c:pt>
                <c:pt idx="1134">
                  <c:v>0.9887294887213534</c:v>
                </c:pt>
                <c:pt idx="1135">
                  <c:v>0.9709190893180293</c:v>
                </c:pt>
                <c:pt idx="1136">
                  <c:v>0.9789237868524081</c:v>
                </c:pt>
                <c:pt idx="1137">
                  <c:v>0.9877143931471744</c:v>
                </c:pt>
                <c:pt idx="1138">
                  <c:v>1.0037290925686846</c:v>
                </c:pt>
                <c:pt idx="1139">
                  <c:v>1.0037290925686846</c:v>
                </c:pt>
                <c:pt idx="1140">
                  <c:v>1.0037290925686846</c:v>
                </c:pt>
                <c:pt idx="1141">
                  <c:v>0.9850644263388377</c:v>
                </c:pt>
                <c:pt idx="1142">
                  <c:v>0.9935632840707691</c:v>
                </c:pt>
                <c:pt idx="1143">
                  <c:v>0.9691284133485258</c:v>
                </c:pt>
                <c:pt idx="1144">
                  <c:v>0.9694021816270939</c:v>
                </c:pt>
                <c:pt idx="1145">
                  <c:v>0.9722150300075807</c:v>
                </c:pt>
                <c:pt idx="1146">
                  <c:v>0.9722150300075807</c:v>
                </c:pt>
                <c:pt idx="1147">
                  <c:v>0.9722150300075807</c:v>
                </c:pt>
                <c:pt idx="1148">
                  <c:v>0.9770443705418408</c:v>
                </c:pt>
                <c:pt idx="1149">
                  <c:v>0.9818151754054498</c:v>
                </c:pt>
                <c:pt idx="1150">
                  <c:v>0.9743902736801948</c:v>
                </c:pt>
                <c:pt idx="1151">
                  <c:v>0.9460189592557093</c:v>
                </c:pt>
                <c:pt idx="1152">
                  <c:v>0.9617427964585104</c:v>
                </c:pt>
                <c:pt idx="1153">
                  <c:v>0.9617427964585104</c:v>
                </c:pt>
                <c:pt idx="1154">
                  <c:v>0.9617427964585104</c:v>
                </c:pt>
                <c:pt idx="1155">
                  <c:v>0.963754868288611</c:v>
                </c:pt>
                <c:pt idx="1156">
                  <c:v>0.9904468618131343</c:v>
                </c:pt>
                <c:pt idx="1157">
                  <c:v>1.0246389904766864</c:v>
                </c:pt>
                <c:pt idx="1158">
                  <c:v>1.0563314020888073</c:v>
                </c:pt>
                <c:pt idx="1159">
                  <c:v>1.0503666233556084</c:v>
                </c:pt>
                <c:pt idx="1160">
                  <c:v>1.0503666233556084</c:v>
                </c:pt>
                <c:pt idx="1161">
                  <c:v>1.0503666233556084</c:v>
                </c:pt>
                <c:pt idx="1162">
                  <c:v>1.0745384201197377</c:v>
                </c:pt>
                <c:pt idx="1163">
                  <c:v>1.0442213282025379</c:v>
                </c:pt>
                <c:pt idx="1164">
                  <c:v>1.044760330395142</c:v>
                </c:pt>
                <c:pt idx="1165">
                  <c:v>1.0452950860499697</c:v>
                </c:pt>
                <c:pt idx="1166">
                  <c:v>1.0297680213007703</c:v>
                </c:pt>
                <c:pt idx="1167">
                  <c:v>1.0297680213007703</c:v>
                </c:pt>
                <c:pt idx="1168">
                  <c:v>1.0297680213007703</c:v>
                </c:pt>
                <c:pt idx="1169">
                  <c:v>1.0485234532550005</c:v>
                </c:pt>
                <c:pt idx="1170">
                  <c:v>1.0477487185530503</c:v>
                </c:pt>
                <c:pt idx="1171">
                  <c:v>1.0609814298955338</c:v>
                </c:pt>
                <c:pt idx="1172">
                  <c:v>1.0724243419563524</c:v>
                </c:pt>
                <c:pt idx="1173">
                  <c:v>1.0720737361030617</c:v>
                </c:pt>
                <c:pt idx="1174">
                  <c:v>1.0720737361030617</c:v>
                </c:pt>
                <c:pt idx="1175">
                  <c:v>1.0720737361030617</c:v>
                </c:pt>
                <c:pt idx="1176">
                  <c:v>1.0825010834009405</c:v>
                </c:pt>
                <c:pt idx="1177">
                  <c:v>1.0828432222013573</c:v>
                </c:pt>
                <c:pt idx="1178">
                  <c:v>1.0748057626817236</c:v>
                </c:pt>
                <c:pt idx="1179">
                  <c:v>1.0591683871215314</c:v>
                </c:pt>
                <c:pt idx="1180">
                  <c:v>1.0489764311098888</c:v>
                </c:pt>
                <c:pt idx="1181">
                  <c:v>1.0489764311098888</c:v>
                </c:pt>
                <c:pt idx="1182">
                  <c:v>1.0489764311098888</c:v>
                </c:pt>
                <c:pt idx="1183">
                  <c:v>1.046058554392558</c:v>
                </c:pt>
                <c:pt idx="1184">
                  <c:v>1.0526902497433346</c:v>
                </c:pt>
                <c:pt idx="1185">
                  <c:v>1.0735304444033655</c:v>
                </c:pt>
                <c:pt idx="1186">
                  <c:v>1.078581383425529</c:v>
                </c:pt>
                <c:pt idx="1187">
                  <c:v>1.0811028885822993</c:v>
                </c:pt>
                <c:pt idx="1188">
                  <c:v>1.0811028885822993</c:v>
                </c:pt>
                <c:pt idx="1189">
                  <c:v>1.0811028885822993</c:v>
                </c:pt>
                <c:pt idx="1190">
                  <c:v>1.0894358504109598</c:v>
                </c:pt>
                <c:pt idx="1191">
                  <c:v>1.0808611036530142</c:v>
                </c:pt>
                <c:pt idx="1192">
                  <c:v>1.1129386468868825</c:v>
                </c:pt>
                <c:pt idx="1193">
                  <c:v>1.0962719803549166</c:v>
                </c:pt>
                <c:pt idx="1194">
                  <c:v>1.1051946718068963</c:v>
                </c:pt>
                <c:pt idx="1195">
                  <c:v>1.1051946718068963</c:v>
                </c:pt>
                <c:pt idx="1196">
                  <c:v>1.1051946718068963</c:v>
                </c:pt>
                <c:pt idx="1197">
                  <c:v>1.1062768772596043</c:v>
                </c:pt>
                <c:pt idx="1198">
                  <c:v>1.1062359110230466</c:v>
                </c:pt>
                <c:pt idx="1199">
                  <c:v>1.0449214985431823</c:v>
                </c:pt>
                <c:pt idx="1200">
                  <c:v>1.0415364690300546</c:v>
                </c:pt>
                <c:pt idx="1201">
                  <c:v>1.0578427079392783</c:v>
                </c:pt>
                <c:pt idx="1202">
                  <c:v>1.0578427079392783</c:v>
                </c:pt>
                <c:pt idx="1203">
                  <c:v>1.0578427079392783</c:v>
                </c:pt>
                <c:pt idx="1204">
                  <c:v>1.0618795427536063</c:v>
                </c:pt>
                <c:pt idx="1205">
                  <c:v>1.090008162531249</c:v>
                </c:pt>
                <c:pt idx="1206">
                  <c:v>1.0863688216029508</c:v>
                </c:pt>
                <c:pt idx="1207">
                  <c:v>1.088109672424462</c:v>
                </c:pt>
                <c:pt idx="1208">
                  <c:v>1.0701882849136073</c:v>
                </c:pt>
                <c:pt idx="1209">
                  <c:v>1.0701882849136073</c:v>
                </c:pt>
                <c:pt idx="1210">
                  <c:v>1.0701882849136073</c:v>
                </c:pt>
                <c:pt idx="1211">
                  <c:v>1.0584205436017675</c:v>
                </c:pt>
                <c:pt idx="1212">
                  <c:v>1.0583371273295747</c:v>
                </c:pt>
                <c:pt idx="1213">
                  <c:v>1.0583371273295747</c:v>
                </c:pt>
                <c:pt idx="1214">
                  <c:v>1.054307976530756</c:v>
                </c:pt>
                <c:pt idx="1215">
                  <c:v>1.0752457218587042</c:v>
                </c:pt>
                <c:pt idx="1216">
                  <c:v>1.0752457218587042</c:v>
                </c:pt>
                <c:pt idx="1217">
                  <c:v>1.0752457218587042</c:v>
                </c:pt>
                <c:pt idx="1218">
                  <c:v>1.0879057372041898</c:v>
                </c:pt>
                <c:pt idx="1219">
                  <c:v>1.0768750345999099</c:v>
                </c:pt>
                <c:pt idx="1220">
                  <c:v>1.0890501683755787</c:v>
                </c:pt>
                <c:pt idx="1221">
                  <c:v>1.0828777807534693</c:v>
                </c:pt>
                <c:pt idx="1222">
                  <c:v>1.0341830412928985</c:v>
                </c:pt>
                <c:pt idx="1223">
                  <c:v>1.0341830412928985</c:v>
                </c:pt>
                <c:pt idx="1224">
                  <c:v>1.0341830412928985</c:v>
                </c:pt>
                <c:pt idx="1225">
                  <c:v>1.0318137763291984</c:v>
                </c:pt>
                <c:pt idx="1226">
                  <c:v>1.0220523986917254</c:v>
                </c:pt>
                <c:pt idx="1227">
                  <c:v>1.0716237988600943</c:v>
                </c:pt>
                <c:pt idx="1228">
                  <c:v>1.0727477748588772</c:v>
                </c:pt>
                <c:pt idx="1229">
                  <c:v>1.0920835722495488</c:v>
                </c:pt>
                <c:pt idx="1230">
                  <c:v>1.0920835722495488</c:v>
                </c:pt>
                <c:pt idx="1231">
                  <c:v>1.0920835722495488</c:v>
                </c:pt>
                <c:pt idx="1232">
                  <c:v>1.0907108972379032</c:v>
                </c:pt>
                <c:pt idx="1233">
                  <c:v>1.11943553823858</c:v>
                </c:pt>
                <c:pt idx="1234">
                  <c:v>1.1260658601149327</c:v>
                </c:pt>
                <c:pt idx="1235">
                  <c:v>1.1420323467598892</c:v>
                </c:pt>
                <c:pt idx="1236">
                  <c:v>1.138815016909644</c:v>
                </c:pt>
                <c:pt idx="1237">
                  <c:v>1.138815016909644</c:v>
                </c:pt>
                <c:pt idx="1238">
                  <c:v>1.138815016909644</c:v>
                </c:pt>
                <c:pt idx="1239">
                  <c:v>1.1043906337923097</c:v>
                </c:pt>
                <c:pt idx="1240">
                  <c:v>1.1300046858408823</c:v>
                </c:pt>
                <c:pt idx="1241">
                  <c:v>1.1253631868963319</c:v>
                </c:pt>
                <c:pt idx="1242">
                  <c:v>1.145158346567304</c:v>
                </c:pt>
                <c:pt idx="1243">
                  <c:v>1.1307210376414272</c:v>
                </c:pt>
                <c:pt idx="1244">
                  <c:v>1.1307210376414272</c:v>
                </c:pt>
                <c:pt idx="1245">
                  <c:v>1.1307210376414272</c:v>
                </c:pt>
                <c:pt idx="1246">
                  <c:v>1.14996644116186</c:v>
                </c:pt>
                <c:pt idx="1247">
                  <c:v>1.1238114292840944</c:v>
                </c:pt>
                <c:pt idx="1248">
                  <c:v>1.1575469000708138</c:v>
                </c:pt>
                <c:pt idx="1249">
                  <c:v>1.1581624697313586</c:v>
                </c:pt>
                <c:pt idx="1250">
                  <c:v>1.1445601902440323</c:v>
                </c:pt>
                <c:pt idx="1251">
                  <c:v>1.1445601902440323</c:v>
                </c:pt>
                <c:pt idx="1252">
                  <c:v>1.1445601902440323</c:v>
                </c:pt>
                <c:pt idx="1253">
                  <c:v>1.1633641272180908</c:v>
                </c:pt>
                <c:pt idx="1254">
                  <c:v>1.1557409835226253</c:v>
                </c:pt>
                <c:pt idx="1255">
                  <c:v>1.1514515556149258</c:v>
                </c:pt>
                <c:pt idx="1256">
                  <c:v>1.1774062652869959</c:v>
                </c:pt>
                <c:pt idx="1257">
                  <c:v>1.18018250187842</c:v>
                </c:pt>
                <c:pt idx="1258">
                  <c:v>1.18018250187842</c:v>
                </c:pt>
                <c:pt idx="1259">
                  <c:v>1.18018250187842</c:v>
                </c:pt>
                <c:pt idx="1260">
                  <c:v>1.1859204904844631</c:v>
                </c:pt>
                <c:pt idx="1261">
                  <c:v>1.1974636628140627</c:v>
                </c:pt>
                <c:pt idx="1262">
                  <c:v>1.1885059230093362</c:v>
                </c:pt>
                <c:pt idx="1263">
                  <c:v>1.1985774266688605</c:v>
                </c:pt>
                <c:pt idx="1264">
                  <c:v>1.1651988822183013</c:v>
                </c:pt>
                <c:pt idx="1265">
                  <c:v>1.1651988822183013</c:v>
                </c:pt>
                <c:pt idx="1266">
                  <c:v>1.1651988822183013</c:v>
                </c:pt>
                <c:pt idx="1267">
                  <c:v>1.1550727009791433</c:v>
                </c:pt>
                <c:pt idx="1268">
                  <c:v>1.1542337111702277</c:v>
                </c:pt>
                <c:pt idx="1269">
                  <c:v>1.1571762017776903</c:v>
                </c:pt>
                <c:pt idx="1270">
                  <c:v>1.1342562665134164</c:v>
                </c:pt>
                <c:pt idx="1271">
                  <c:v>1.1611570718837978</c:v>
                </c:pt>
                <c:pt idx="1272">
                  <c:v>1.1611570718837978</c:v>
                </c:pt>
                <c:pt idx="1273">
                  <c:v>1.1611570718837978</c:v>
                </c:pt>
                <c:pt idx="1274">
                  <c:v>1.1466123350322688</c:v>
                </c:pt>
                <c:pt idx="1275">
                  <c:v>1.137410870318643</c:v>
                </c:pt>
                <c:pt idx="1276">
                  <c:v>1.1707169243721376</c:v>
                </c:pt>
                <c:pt idx="1277">
                  <c:v>1.1392706842012035</c:v>
                </c:pt>
                <c:pt idx="1278">
                  <c:v>1.168350403856604</c:v>
                </c:pt>
                <c:pt idx="1279">
                  <c:v>1.168350403856604</c:v>
                </c:pt>
                <c:pt idx="1280">
                  <c:v>1.168350403856604</c:v>
                </c:pt>
                <c:pt idx="1281">
                  <c:v>1.0890460333905438</c:v>
                </c:pt>
                <c:pt idx="1282">
                  <c:v>1.08378939555449</c:v>
                </c:pt>
                <c:pt idx="1283">
                  <c:v>1.0966412096165654</c:v>
                </c:pt>
                <c:pt idx="1284">
                  <c:v>1.0704922713315765</c:v>
                </c:pt>
                <c:pt idx="1285">
                  <c:v>1.11385338778073</c:v>
                </c:pt>
                <c:pt idx="1286">
                  <c:v>1.11385338778073</c:v>
                </c:pt>
                <c:pt idx="1287">
                  <c:v>1.11385338778073</c:v>
                </c:pt>
                <c:pt idx="1288">
                  <c:v>1.1323497030980416</c:v>
                </c:pt>
                <c:pt idx="1289">
                  <c:v>1.1270849236085776</c:v>
                </c:pt>
                <c:pt idx="1290">
                  <c:v>1.1465492707068665</c:v>
                </c:pt>
                <c:pt idx="1291">
                  <c:v>1.1405472511003176</c:v>
                </c:pt>
                <c:pt idx="1292">
                  <c:v>1.139196645507401</c:v>
                </c:pt>
                <c:pt idx="1293">
                  <c:v>1.139196645507401</c:v>
                </c:pt>
                <c:pt idx="1294">
                  <c:v>1.139196645507401</c:v>
                </c:pt>
                <c:pt idx="1295">
                  <c:v>1.170907426479853</c:v>
                </c:pt>
                <c:pt idx="1296">
                  <c:v>1.175513882248056</c:v>
                </c:pt>
                <c:pt idx="1297">
                  <c:v>1.1576130429187073</c:v>
                </c:pt>
                <c:pt idx="1298">
                  <c:v>1.1436240028416695</c:v>
                </c:pt>
                <c:pt idx="1299">
                  <c:v>1.102133711757471</c:v>
                </c:pt>
                <c:pt idx="1300">
                  <c:v>1.102133711757471</c:v>
                </c:pt>
                <c:pt idx="1301">
                  <c:v>1.102133711757471</c:v>
                </c:pt>
                <c:pt idx="1302">
                  <c:v>1.064007569538194</c:v>
                </c:pt>
                <c:pt idx="1303">
                  <c:v>1.071314328252443</c:v>
                </c:pt>
                <c:pt idx="1304">
                  <c:v>1.0756733223765451</c:v>
                </c:pt>
                <c:pt idx="1305">
                  <c:v>0.9804096308323376</c:v>
                </c:pt>
                <c:pt idx="1306">
                  <c:v>0.8531651229093109</c:v>
                </c:pt>
                <c:pt idx="1307">
                  <c:v>0.8531651229093109</c:v>
                </c:pt>
                <c:pt idx="1308">
                  <c:v>0.8531651229093109</c:v>
                </c:pt>
                <c:pt idx="1309">
                  <c:v>0.8432612622034705</c:v>
                </c:pt>
                <c:pt idx="1310">
                  <c:v>0.8249715008739062</c:v>
                </c:pt>
                <c:pt idx="1311">
                  <c:v>0.975262742789841</c:v>
                </c:pt>
                <c:pt idx="1312">
                  <c:v>0.9303312333520846</c:v>
                </c:pt>
                <c:pt idx="1313">
                  <c:v>0.9726578041630798</c:v>
                </c:pt>
                <c:pt idx="1314">
                  <c:v>0.9726578041630798</c:v>
                </c:pt>
                <c:pt idx="1315">
                  <c:v>0.9726578041630798</c:v>
                </c:pt>
                <c:pt idx="1316">
                  <c:v>1.0007900199350104</c:v>
                </c:pt>
                <c:pt idx="1317">
                  <c:v>1.0098088899697912</c:v>
                </c:pt>
                <c:pt idx="1318">
                  <c:v>0.9814903703939892</c:v>
                </c:pt>
                <c:pt idx="1319">
                  <c:v>0.9903629796103928</c:v>
                </c:pt>
                <c:pt idx="1320">
                  <c:v>0.9903629796103928</c:v>
                </c:pt>
                <c:pt idx="1321">
                  <c:v>0.9903629796103928</c:v>
                </c:pt>
                <c:pt idx="1322">
                  <c:v>0.9903629796103928</c:v>
                </c:pt>
                <c:pt idx="1323">
                  <c:v>0.9582027725013509</c:v>
                </c:pt>
                <c:pt idx="1324">
                  <c:v>1.0077269719262576</c:v>
                </c:pt>
                <c:pt idx="1325">
                  <c:v>1.0332981557343373</c:v>
                </c:pt>
                <c:pt idx="1326">
                  <c:v>1.0630600341474694</c:v>
                </c:pt>
                <c:pt idx="1327">
                  <c:v>1.0554747577586618</c:v>
                </c:pt>
                <c:pt idx="1328">
                  <c:v>1.0554747577586618</c:v>
                </c:pt>
                <c:pt idx="1329">
                  <c:v>1.0554747577586618</c:v>
                </c:pt>
                <c:pt idx="1330">
                  <c:v>1.0460436882659883</c:v>
                </c:pt>
                <c:pt idx="1331">
                  <c:v>1.0570538439253783</c:v>
                </c:pt>
                <c:pt idx="1332">
                  <c:v>1.0596019720962255</c:v>
                </c:pt>
                <c:pt idx="1333">
                  <c:v>1.0561574476304632</c:v>
                </c:pt>
                <c:pt idx="1334">
                  <c:v>1.0979085900596868</c:v>
                </c:pt>
                <c:pt idx="1335">
                  <c:v>1.0979085900596868</c:v>
                </c:pt>
                <c:pt idx="1336">
                  <c:v>1.0979085900596868</c:v>
                </c:pt>
                <c:pt idx="1337">
                  <c:v>1.0869942489279834</c:v>
                </c:pt>
                <c:pt idx="1338">
                  <c:v>1.0546058279154917</c:v>
                </c:pt>
                <c:pt idx="1339">
                  <c:v>1.016857943040915</c:v>
                </c:pt>
                <c:pt idx="1340">
                  <c:v>1.001270093675096</c:v>
                </c:pt>
                <c:pt idx="1341">
                  <c:v>0.9868707308505227</c:v>
                </c:pt>
                <c:pt idx="1342">
                  <c:v>0.9868707308505227</c:v>
                </c:pt>
                <c:pt idx="1343">
                  <c:v>0.9868707308505227</c:v>
                </c:pt>
                <c:pt idx="1344">
                  <c:v>1.0204467344175097</c:v>
                </c:pt>
                <c:pt idx="1345">
                  <c:v>1.0292042952086269</c:v>
                </c:pt>
                <c:pt idx="1346">
                  <c:v>1.0471885595661048</c:v>
                </c:pt>
                <c:pt idx="1347">
                  <c:v>1.0714965072012803</c:v>
                </c:pt>
                <c:pt idx="1348">
                  <c:v>1.0865398310850432</c:v>
                </c:pt>
                <c:pt idx="1349">
                  <c:v>1.0865398310850432</c:v>
                </c:pt>
                <c:pt idx="1350">
                  <c:v>1.0865398310850432</c:v>
                </c:pt>
                <c:pt idx="1351">
                  <c:v>1.1079699406847898</c:v>
                </c:pt>
                <c:pt idx="1352">
                  <c:v>1.1108652882348933</c:v>
                </c:pt>
                <c:pt idx="1353">
                  <c:v>1.0934900519786424</c:v>
                </c:pt>
                <c:pt idx="1354">
                  <c:v>1.0998880578063908</c:v>
                </c:pt>
                <c:pt idx="1355">
                  <c:v>1.0973579633134167</c:v>
                </c:pt>
                <c:pt idx="1356">
                  <c:v>1.0973579633134167</c:v>
                </c:pt>
                <c:pt idx="1357">
                  <c:v>1.0973579633134167</c:v>
                </c:pt>
                <c:pt idx="1358">
                  <c:v>1.1020107609641991</c:v>
                </c:pt>
                <c:pt idx="1359">
                  <c:v>1.1624977059577288</c:v>
                </c:pt>
                <c:pt idx="1360">
                  <c:v>1.0999688536553598</c:v>
                </c:pt>
                <c:pt idx="1361">
                  <c:v>1.061599161730724</c:v>
                </c:pt>
                <c:pt idx="1362">
                  <c:v>1.0656533344761736</c:v>
                </c:pt>
                <c:pt idx="1363">
                  <c:v>1.0656533344761736</c:v>
                </c:pt>
                <c:pt idx="1364">
                  <c:v>1.0656533344761736</c:v>
                </c:pt>
                <c:pt idx="1365">
                  <c:v>1.0830475553456598</c:v>
                </c:pt>
                <c:pt idx="1366">
                  <c:v>1.1002034554887943</c:v>
                </c:pt>
                <c:pt idx="1367">
                  <c:v>1.1200195043399614</c:v>
                </c:pt>
                <c:pt idx="1368">
                  <c:v>1.0276924824514664</c:v>
                </c:pt>
                <c:pt idx="1369">
                  <c:v>1.0641832638802842</c:v>
                </c:pt>
                <c:pt idx="1370">
                  <c:v>1.0641832638802842</c:v>
                </c:pt>
                <c:pt idx="1371">
                  <c:v>1.0641832638802842</c:v>
                </c:pt>
                <c:pt idx="1372">
                  <c:v>0.9667584724874208</c:v>
                </c:pt>
                <c:pt idx="1373">
                  <c:v>0.9808003278720383</c:v>
                </c:pt>
                <c:pt idx="1374">
                  <c:v>0.9933365264890972</c:v>
                </c:pt>
                <c:pt idx="1375">
                  <c:v>0.9786060547012172</c:v>
                </c:pt>
                <c:pt idx="1376">
                  <c:v>0.9389888722481867</c:v>
                </c:pt>
                <c:pt idx="1377">
                  <c:v>0.9389888722481867</c:v>
                </c:pt>
                <c:pt idx="1378">
                  <c:v>0.9389888722481867</c:v>
                </c:pt>
                <c:pt idx="1379">
                  <c:v>0.9160547668428285</c:v>
                </c:pt>
                <c:pt idx="1380">
                  <c:v>0.9100519286414361</c:v>
                </c:pt>
                <c:pt idx="1381">
                  <c:v>0.9183170062121075</c:v>
                </c:pt>
                <c:pt idx="1382">
                  <c:v>0.8890159286914554</c:v>
                </c:pt>
                <c:pt idx="1383">
                  <c:v>0.8365893544887246</c:v>
                </c:pt>
                <c:pt idx="1384">
                  <c:v>0.8365893544887246</c:v>
                </c:pt>
                <c:pt idx="1385">
                  <c:v>0.8365893544887246</c:v>
                </c:pt>
                <c:pt idx="1386">
                  <c:v>0.8304268425288193</c:v>
                </c:pt>
                <c:pt idx="1387">
                  <c:v>0.862561303989597</c:v>
                </c:pt>
                <c:pt idx="1388">
                  <c:v>0.8755241956604602</c:v>
                </c:pt>
                <c:pt idx="1389">
                  <c:v>0.8947991620659457</c:v>
                </c:pt>
                <c:pt idx="1390">
                  <c:v>0.9115882695086612</c:v>
                </c:pt>
                <c:pt idx="1391">
                  <c:v>0.9115882695086612</c:v>
                </c:pt>
                <c:pt idx="1392">
                  <c:v>0.9115882695086612</c:v>
                </c:pt>
                <c:pt idx="1393">
                  <c:v>0.9295287409474344</c:v>
                </c:pt>
                <c:pt idx="1394">
                  <c:v>0.9462834157434084</c:v>
                </c:pt>
                <c:pt idx="1395">
                  <c:v>0.954274006107001</c:v>
                </c:pt>
                <c:pt idx="1396">
                  <c:v>0.9724841581766546</c:v>
                </c:pt>
                <c:pt idx="1397">
                  <c:v>0.9862057433367069</c:v>
                </c:pt>
                <c:pt idx="1398">
                  <c:v>0.9862057433367069</c:v>
                </c:pt>
                <c:pt idx="1399">
                  <c:v>0.9862057433367069</c:v>
                </c:pt>
                <c:pt idx="1400">
                  <c:v>0.9767028241148163</c:v>
                </c:pt>
                <c:pt idx="1401">
                  <c:v>0.9804033594009107</c:v>
                </c:pt>
                <c:pt idx="1402">
                  <c:v>0.9896688405261909</c:v>
                </c:pt>
                <c:pt idx="1403">
                  <c:v>1.0031863145245166</c:v>
                </c:pt>
                <c:pt idx="1404">
                  <c:v>0.9206482145199208</c:v>
                </c:pt>
                <c:pt idx="1405">
                  <c:v>0.9206482145199208</c:v>
                </c:pt>
                <c:pt idx="1406">
                  <c:v>0.9206482145199208</c:v>
                </c:pt>
                <c:pt idx="1407">
                  <c:v>0.8989734719703331</c:v>
                </c:pt>
                <c:pt idx="1408">
                  <c:v>0.8956648605662965</c:v>
                </c:pt>
                <c:pt idx="1409">
                  <c:v>0.8734283559365124</c:v>
                </c:pt>
                <c:pt idx="1410">
                  <c:v>0.8780606651450282</c:v>
                </c:pt>
                <c:pt idx="1411">
                  <c:v>0.9210515447852061</c:v>
                </c:pt>
                <c:pt idx="1412">
                  <c:v>0.9210515447852061</c:v>
                </c:pt>
                <c:pt idx="1413">
                  <c:v>0.9210515447852061</c:v>
                </c:pt>
                <c:pt idx="1414">
                  <c:v>0.9018390342207112</c:v>
                </c:pt>
                <c:pt idx="1415">
                  <c:v>0.8989103187295606</c:v>
                </c:pt>
                <c:pt idx="1416">
                  <c:v>0.9344500691514108</c:v>
                </c:pt>
                <c:pt idx="1417">
                  <c:v>0.938803699353189</c:v>
                </c:pt>
                <c:pt idx="1418">
                  <c:v>0.9509020265999404</c:v>
                </c:pt>
                <c:pt idx="1419">
                  <c:v>0.9509020265999404</c:v>
                </c:pt>
                <c:pt idx="1420">
                  <c:v>0.9509020265999404</c:v>
                </c:pt>
                <c:pt idx="1421">
                  <c:v>0.9387626473325978</c:v>
                </c:pt>
                <c:pt idx="1422">
                  <c:v>0.9497838686264735</c:v>
                </c:pt>
                <c:pt idx="1423">
                  <c:v>0.9047917372726246</c:v>
                </c:pt>
                <c:pt idx="1424">
                  <c:v>0.8942357363169802</c:v>
                </c:pt>
                <c:pt idx="1425">
                  <c:v>0.8687592662634782</c:v>
                </c:pt>
                <c:pt idx="1426">
                  <c:v>0.8687592662634782</c:v>
                </c:pt>
                <c:pt idx="1427">
                  <c:v>0.8687592662634782</c:v>
                </c:pt>
                <c:pt idx="1428">
                  <c:v>0.8591615382975715</c:v>
                </c:pt>
                <c:pt idx="1429">
                  <c:v>0.8854189835401349</c:v>
                </c:pt>
                <c:pt idx="1430">
                  <c:v>0.9102636349388615</c:v>
                </c:pt>
                <c:pt idx="1431">
                  <c:v>0.91416004405188</c:v>
                </c:pt>
                <c:pt idx="1432">
                  <c:v>0.9407571995029169</c:v>
                </c:pt>
                <c:pt idx="1433">
                  <c:v>0.9407571995029169</c:v>
                </c:pt>
                <c:pt idx="1434">
                  <c:v>0.9407571995029169</c:v>
                </c:pt>
                <c:pt idx="1435">
                  <c:v>0.9303766146367745</c:v>
                </c:pt>
                <c:pt idx="1436">
                  <c:v>0.9611848528445874</c:v>
                </c:pt>
                <c:pt idx="1437">
                  <c:v>0.9548214142649929</c:v>
                </c:pt>
                <c:pt idx="1438">
                  <c:v>0.9483603069041713</c:v>
                </c:pt>
                <c:pt idx="1439">
                  <c:v>0.9483196878004039</c:v>
                </c:pt>
                <c:pt idx="1440">
                  <c:v>0.9483196878004039</c:v>
                </c:pt>
                <c:pt idx="1441">
                  <c:v>0.9483196878004039</c:v>
                </c:pt>
                <c:pt idx="1442">
                  <c:v>0.957799254328797</c:v>
                </c:pt>
                <c:pt idx="1443">
                  <c:v>0.9585358738949425</c:v>
                </c:pt>
                <c:pt idx="1444">
                  <c:v>0.9568855858821921</c:v>
                </c:pt>
                <c:pt idx="1445">
                  <c:v>0.9523755486808434</c:v>
                </c:pt>
                <c:pt idx="1446">
                  <c:v>0.9677063523185188</c:v>
                </c:pt>
                <c:pt idx="1447">
                  <c:v>0.9677063523185188</c:v>
                </c:pt>
                <c:pt idx="1448">
                  <c:v>0.9677063523185188</c:v>
                </c:pt>
                <c:pt idx="1449">
                  <c:v>0.9341194979533363</c:v>
                </c:pt>
                <c:pt idx="1450">
                  <c:v>0.9729492465088287</c:v>
                </c:pt>
                <c:pt idx="1451">
                  <c:v>0.9763819803561644</c:v>
                </c:pt>
                <c:pt idx="1452">
                  <c:v>0.9889782379772256</c:v>
                </c:pt>
                <c:pt idx="1453">
                  <c:v>0.981780721225169</c:v>
                </c:pt>
                <c:pt idx="1454">
                  <c:v>0.981780721225169</c:v>
                </c:pt>
                <c:pt idx="1455">
                  <c:v>0.981780721225169</c:v>
                </c:pt>
                <c:pt idx="1456">
                  <c:v>0.9926929878669153</c:v>
                </c:pt>
                <c:pt idx="1457">
                  <c:v>0.9844023209393933</c:v>
                </c:pt>
                <c:pt idx="1458">
                  <c:v>0.9993110378095589</c:v>
                </c:pt>
                <c:pt idx="1459">
                  <c:v>1.0201500637650875</c:v>
                </c:pt>
                <c:pt idx="1460">
                  <c:v>1.0239016904041138</c:v>
                </c:pt>
                <c:pt idx="1461">
                  <c:v>1.0239016904041138</c:v>
                </c:pt>
                <c:pt idx="1462">
                  <c:v>1.0239016904041138</c:v>
                </c:pt>
                <c:pt idx="1463">
                  <c:v>1.0345700403279352</c:v>
                </c:pt>
                <c:pt idx="1464">
                  <c:v>1.0451030382544788</c:v>
                </c:pt>
                <c:pt idx="1465">
                  <c:v>1.056204593605787</c:v>
                </c:pt>
                <c:pt idx="1466">
                  <c:v>1.0933253385927553</c:v>
                </c:pt>
                <c:pt idx="1467">
                  <c:v>1.0594887698386963</c:v>
                </c:pt>
                <c:pt idx="1468">
                  <c:v>1.0594887698386963</c:v>
                </c:pt>
                <c:pt idx="1469">
                  <c:v>1.0594887698386963</c:v>
                </c:pt>
                <c:pt idx="1470">
                  <c:v>1.0658153021450754</c:v>
                </c:pt>
                <c:pt idx="1471">
                  <c:v>1.0534809516626757</c:v>
                </c:pt>
                <c:pt idx="1472">
                  <c:v>1.0314807411573477</c:v>
                </c:pt>
                <c:pt idx="1473">
                  <c:v>1.0430916552418292</c:v>
                </c:pt>
                <c:pt idx="1474">
                  <c:v>1.0599300376777627</c:v>
                </c:pt>
                <c:pt idx="1475">
                  <c:v>1.0599300376777627</c:v>
                </c:pt>
                <c:pt idx="1476">
                  <c:v>1.0599300376777627</c:v>
                </c:pt>
                <c:pt idx="1477">
                  <c:v>1.0781655486494368</c:v>
                </c:pt>
                <c:pt idx="1478">
                  <c:v>1.0784456219986334</c:v>
                </c:pt>
                <c:pt idx="1479">
                  <c:v>1.0534840412960453</c:v>
                </c:pt>
                <c:pt idx="1480">
                  <c:v>1.0514759436069583</c:v>
                </c:pt>
                <c:pt idx="1481">
                  <c:v>1.0674938468941666</c:v>
                </c:pt>
                <c:pt idx="1482">
                  <c:v>1.0674938468941666</c:v>
                </c:pt>
                <c:pt idx="1483">
                  <c:v>1.0674938468941666</c:v>
                </c:pt>
                <c:pt idx="1484">
                  <c:v>1.0620668688585733</c:v>
                </c:pt>
                <c:pt idx="1485">
                  <c:v>1.0853533736013743</c:v>
                </c:pt>
              </c:numCache>
            </c:numRef>
          </c:val>
          <c:smooth val="0"/>
          <c:extLst>
            <c:ext xmlns:c16="http://schemas.microsoft.com/office/drawing/2014/chart" uri="{C3380CC4-5D6E-409C-BE32-E72D297353CC}">
              <c16:uniqueId val="{00000003-1D55-4091-B462-1B341D70D85C}"/>
            </c:ext>
          </c:extLst>
        </c:ser>
        <c:dLbls>
          <c:showLegendKey val="0"/>
          <c:showVal val="0"/>
          <c:showCatName val="0"/>
          <c:showSerName val="0"/>
          <c:showPercent val="0"/>
          <c:showBubbleSize val="0"/>
        </c:dLbls>
        <c:smooth val="0"/>
        <c:axId val="155939519"/>
        <c:axId val="155939999"/>
      </c:lineChart>
      <c:dateAx>
        <c:axId val="155939519"/>
        <c:scaling>
          <c:orientation val="minMax"/>
        </c:scaling>
        <c:delete val="0"/>
        <c:axPos val="b"/>
        <c:numFmt formatCode="[$-409]mmm/yy;@" sourceLinked="0"/>
        <c:majorTickMark val="none"/>
        <c:minorTickMark val="none"/>
        <c:tickLblPos val="low"/>
        <c:spPr>
          <a:noFill/>
          <a:ln w="9525" cap="flat" cmpd="sng" algn="ctr">
            <a:solidFill>
              <a:srgbClr val="979797"/>
            </a:solidFill>
            <a:prstDash val="solid"/>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0" i="0" u="none" strike="noStrike" kern="1200" baseline="0">
                <a:solidFill>
                  <a:schemeClr val="bg1"/>
                </a:solidFill>
                <a:latin typeface="Bierstadt" panose="020B0004020202020204" pitchFamily="34" charset="0"/>
                <a:ea typeface="Bierstadt"/>
                <a:cs typeface="Bierstadt"/>
              </a:defRPr>
            </a:pPr>
            <a:endParaRPr lang="en-US"/>
          </a:p>
        </c:txPr>
        <c:crossAx val="155939999"/>
        <c:crosses val="autoZero"/>
        <c:auto val="1"/>
        <c:lblOffset val="100"/>
        <c:baseTimeUnit val="days"/>
      </c:dateAx>
      <c:valAx>
        <c:axId val="155939999"/>
        <c:scaling>
          <c:orientation val="minMax"/>
        </c:scaling>
        <c:delete val="0"/>
        <c:axPos val="l"/>
        <c:majorGridlines>
          <c:spPr>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majorGridlines>
        <c:numFmt formatCode="0%" sourceLinked="0"/>
        <c:majorTickMark val="none"/>
        <c:minorTickMark val="none"/>
        <c:tickLblPos val="nextTo"/>
        <c:spPr>
          <a:noFill/>
          <a:ln w="9525">
            <a:noFill/>
            <a:prstDash val="soli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0" i="0" u="none" strike="noStrike" kern="1200" baseline="0">
                <a:solidFill>
                  <a:schemeClr val="bg1"/>
                </a:solidFill>
                <a:latin typeface="Bierstadt" panose="020B0004020202020204" pitchFamily="34" charset="0"/>
                <a:ea typeface="Bierstadt"/>
                <a:cs typeface="Bierstadt"/>
              </a:defRPr>
            </a:pPr>
            <a:endParaRPr lang="en-US"/>
          </a:p>
        </c:txPr>
        <c:crossAx val="155939519"/>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800">
          <a:solidFill>
            <a:schemeClr val="bg1"/>
          </a:solidFill>
          <a:latin typeface="Bierstadt" panose="020B0004020202020204" pitchFamily="34" charset="0"/>
          <a:ea typeface="Bierstadt"/>
          <a:cs typeface="Bierstadt"/>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8888888888889"/>
          <c:y val="0.14582208615920292"/>
          <c:w val="0.45478027332406218"/>
          <c:h val="0.5971060515317913"/>
        </c:manualLayout>
      </c:layout>
      <c:doughnutChart>
        <c:varyColors val="0"/>
        <c:ser>
          <c:idx val="0"/>
          <c:order val="0"/>
          <c:tx>
            <c:strRef>
              <c:f>Sheet1!$B$1</c:f>
              <c:strCache>
                <c:ptCount val="1"/>
                <c:pt idx="0">
                  <c:v>Weight</c:v>
                </c:pt>
              </c:strCache>
            </c:strRef>
          </c:tx>
          <c:spPr>
            <a:solidFill>
              <a:schemeClr val="bg1">
                <a:alpha val="70000"/>
              </a:schemeClr>
            </a:solidFill>
            <a:ln w="19050">
              <a:solidFill>
                <a:schemeClr val="lt1"/>
              </a:solidFill>
            </a:ln>
            <a:effectLst/>
          </c:spPr>
          <c:dPt>
            <c:idx val="0"/>
            <c:bubble3D val="0"/>
            <c:spPr>
              <a:solidFill>
                <a:schemeClr val="bg1">
                  <a:lumMod val="95000"/>
                  <a:alpha val="70000"/>
                </a:schemeClr>
              </a:solidFill>
              <a:ln w="19050">
                <a:solidFill>
                  <a:schemeClr val="lt1"/>
                </a:solidFill>
              </a:ln>
              <a:effectLst/>
            </c:spPr>
            <c:extLst>
              <c:ext xmlns:c16="http://schemas.microsoft.com/office/drawing/2014/chart" uri="{C3380CC4-5D6E-409C-BE32-E72D297353CC}">
                <c16:uniqueId val="{00000001-0B11-408B-B9A7-2C2984287608}"/>
              </c:ext>
            </c:extLst>
          </c:dPt>
          <c:dPt>
            <c:idx val="1"/>
            <c:bubble3D val="0"/>
            <c:spPr>
              <a:solidFill>
                <a:schemeClr val="bg1">
                  <a:alpha val="70000"/>
                </a:schemeClr>
              </a:solidFill>
              <a:ln w="19050">
                <a:solidFill>
                  <a:schemeClr val="lt1"/>
                </a:solidFill>
              </a:ln>
              <a:effectLst/>
            </c:spPr>
            <c:extLst>
              <c:ext xmlns:c16="http://schemas.microsoft.com/office/drawing/2014/chart" uri="{C3380CC4-5D6E-409C-BE32-E72D297353CC}">
                <c16:uniqueId val="{00000003-0B11-408B-B9A7-2C2984287608}"/>
              </c:ext>
            </c:extLst>
          </c:dPt>
          <c:dPt>
            <c:idx val="2"/>
            <c:bubble3D val="0"/>
            <c:spPr>
              <a:solidFill>
                <a:schemeClr val="accent6">
                  <a:lumMod val="50000"/>
                  <a:alpha val="50000"/>
                </a:schemeClr>
              </a:solidFill>
              <a:ln w="19050">
                <a:solidFill>
                  <a:schemeClr val="lt1"/>
                </a:solidFill>
              </a:ln>
              <a:effectLst/>
            </c:spPr>
            <c:extLst>
              <c:ext xmlns:c16="http://schemas.microsoft.com/office/drawing/2014/chart" uri="{C3380CC4-5D6E-409C-BE32-E72D297353CC}">
                <c16:uniqueId val="{00000005-0B11-408B-B9A7-2C2984287608}"/>
              </c:ext>
            </c:extLst>
          </c:dPt>
          <c:dPt>
            <c:idx val="3"/>
            <c:bubble3D val="0"/>
            <c:spPr>
              <a:solidFill>
                <a:schemeClr val="accent6">
                  <a:alpha val="70000"/>
                </a:schemeClr>
              </a:solidFill>
              <a:ln w="19050">
                <a:solidFill>
                  <a:schemeClr val="lt1"/>
                </a:solidFill>
              </a:ln>
              <a:effectLst/>
            </c:spPr>
            <c:extLst>
              <c:ext xmlns:c16="http://schemas.microsoft.com/office/drawing/2014/chart" uri="{C3380CC4-5D6E-409C-BE32-E72D297353CC}">
                <c16:uniqueId val="{00000007-0B11-408B-B9A7-2C2984287608}"/>
              </c:ext>
            </c:extLst>
          </c:dPt>
          <c:dPt>
            <c:idx val="4"/>
            <c:bubble3D val="0"/>
            <c:spPr>
              <a:solidFill>
                <a:schemeClr val="accent6">
                  <a:lumMod val="60000"/>
                  <a:lumOff val="40000"/>
                  <a:alpha val="70000"/>
                </a:schemeClr>
              </a:solidFill>
              <a:ln w="19050">
                <a:solidFill>
                  <a:schemeClr val="lt1"/>
                </a:solidFill>
              </a:ln>
              <a:effectLst/>
            </c:spPr>
            <c:extLst>
              <c:ext xmlns:c16="http://schemas.microsoft.com/office/drawing/2014/chart" uri="{C3380CC4-5D6E-409C-BE32-E72D297353CC}">
                <c16:uniqueId val="{00000009-0B11-408B-B9A7-2C2984287608}"/>
              </c:ext>
            </c:extLst>
          </c:dPt>
          <c:dPt>
            <c:idx val="5"/>
            <c:bubble3D val="0"/>
            <c:spPr>
              <a:solidFill>
                <a:schemeClr val="accent6">
                  <a:lumMod val="40000"/>
                  <a:lumOff val="60000"/>
                  <a:alpha val="70000"/>
                </a:schemeClr>
              </a:solidFill>
              <a:ln w="19050">
                <a:solidFill>
                  <a:schemeClr val="lt1"/>
                </a:solidFill>
              </a:ln>
              <a:effectLst/>
            </c:spPr>
            <c:extLst>
              <c:ext xmlns:c16="http://schemas.microsoft.com/office/drawing/2014/chart" uri="{C3380CC4-5D6E-409C-BE32-E72D297353CC}">
                <c16:uniqueId val="{0000000B-0B11-408B-B9A7-2C2984287608}"/>
              </c:ext>
            </c:extLst>
          </c:dPt>
          <c:dPt>
            <c:idx val="6"/>
            <c:bubble3D val="0"/>
            <c:spPr>
              <a:solidFill>
                <a:schemeClr val="accent6">
                  <a:lumMod val="20000"/>
                  <a:lumOff val="80000"/>
                  <a:alpha val="70000"/>
                </a:schemeClr>
              </a:solidFill>
              <a:ln w="19050">
                <a:solidFill>
                  <a:schemeClr val="lt1"/>
                </a:solidFill>
              </a:ln>
              <a:effectLst/>
            </c:spPr>
            <c:extLst>
              <c:ext xmlns:c16="http://schemas.microsoft.com/office/drawing/2014/chart" uri="{C3380CC4-5D6E-409C-BE32-E72D297353CC}">
                <c16:uniqueId val="{0000000D-0B11-408B-B9A7-2C2984287608}"/>
              </c:ext>
            </c:extLst>
          </c:dPt>
          <c:dPt>
            <c:idx val="7"/>
            <c:bubble3D val="0"/>
            <c:spPr>
              <a:solidFill>
                <a:schemeClr val="bg1">
                  <a:lumMod val="75000"/>
                  <a:alpha val="70000"/>
                </a:schemeClr>
              </a:solidFill>
              <a:ln w="19050">
                <a:solidFill>
                  <a:schemeClr val="lt1"/>
                </a:solidFill>
              </a:ln>
              <a:effectLst/>
            </c:spPr>
            <c:extLst>
              <c:ext xmlns:c16="http://schemas.microsoft.com/office/drawing/2014/chart" uri="{C3380CC4-5D6E-409C-BE32-E72D297353CC}">
                <c16:uniqueId val="{0000000F-0B11-408B-B9A7-2C2984287608}"/>
              </c:ext>
            </c:extLst>
          </c:dPt>
          <c:dPt>
            <c:idx val="8"/>
            <c:bubble3D val="0"/>
            <c:spPr>
              <a:solidFill>
                <a:schemeClr val="bg1">
                  <a:lumMod val="85000"/>
                  <a:alpha val="70000"/>
                </a:schemeClr>
              </a:solidFill>
              <a:ln w="19050">
                <a:solidFill>
                  <a:schemeClr val="lt1"/>
                </a:solidFill>
              </a:ln>
              <a:effectLst/>
            </c:spPr>
            <c:extLst>
              <c:ext xmlns:c16="http://schemas.microsoft.com/office/drawing/2014/chart" uri="{C3380CC4-5D6E-409C-BE32-E72D297353CC}">
                <c16:uniqueId val="{00000011-0B11-408B-B9A7-2C2984287608}"/>
              </c:ext>
            </c:extLst>
          </c:dPt>
          <c:dLbls>
            <c:dLbl>
              <c:idx val="0"/>
              <c:layout>
                <c:manualLayout>
                  <c:x val="4.6065605186413956E-2"/>
                  <c:y val="-6.8403531592005629E-2"/>
                </c:manualLayout>
              </c:layout>
              <c:spPr>
                <a:solidFill>
                  <a:schemeClr val="bg1">
                    <a:lumMod val="9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1-0B11-408B-B9A7-2C2984287608}"/>
                </c:ext>
              </c:extLst>
            </c:dLbl>
            <c:dLbl>
              <c:idx val="1"/>
              <c:layout>
                <c:manualLayout>
                  <c:x val="8.0614695726189844E-2"/>
                  <c:y val="-6.3517565049719546E-2"/>
                </c:manualLayout>
              </c:layout>
              <c:spPr>
                <a:solidFill>
                  <a:schemeClr val="bg1"/>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1978843380150127E-2"/>
                    </c:manualLayout>
                  </c15:layout>
                </c:ext>
                <c:ext xmlns:c16="http://schemas.microsoft.com/office/drawing/2014/chart" uri="{C3380CC4-5D6E-409C-BE32-E72D297353CC}">
                  <c16:uniqueId val="{00000003-0B11-408B-B9A7-2C2984287608}"/>
                </c:ext>
              </c:extLst>
            </c:dLbl>
            <c:dLbl>
              <c:idx val="6"/>
              <c:layout>
                <c:manualLayout>
                  <c:x val="1.5113337943908963E-7"/>
                  <c:y val="1.4657899626858305E-2"/>
                </c:manualLayout>
              </c:layout>
              <c:spPr>
                <a:solidFill>
                  <a:schemeClr val="accent6">
                    <a:lumMod val="20000"/>
                    <a:lumOff val="80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D-0B11-408B-B9A7-2C2984287608}"/>
                </c:ext>
              </c:extLst>
            </c:dLbl>
            <c:dLbl>
              <c:idx val="7"/>
              <c:layout>
                <c:manualLayout>
                  <c:x val="-7.6774245421263841E-3"/>
                  <c:y val="-2.93157992537167E-2"/>
                </c:manualLayout>
              </c:layout>
              <c:spPr>
                <a:solidFill>
                  <a:schemeClr val="bg1">
                    <a:lumMod val="7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F-0B11-408B-B9A7-2C2984287608}"/>
                </c:ext>
              </c:extLst>
            </c:dLbl>
            <c:dLbl>
              <c:idx val="8"/>
              <c:layout>
                <c:manualLayout>
                  <c:x val="1.5113337943908963E-7"/>
                  <c:y val="-8.3061431218863988E-2"/>
                </c:manualLayout>
              </c:layout>
              <c:spPr>
                <a:solidFill>
                  <a:schemeClr val="bg1">
                    <a:lumMod val="8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6864809922436244E-2"/>
                    </c:manualLayout>
                  </c15:layout>
                </c:ext>
                <c:ext xmlns:c16="http://schemas.microsoft.com/office/drawing/2014/chart" uri="{C3380CC4-5D6E-409C-BE32-E72D297353CC}">
                  <c16:uniqueId val="{00000011-0B11-408B-B9A7-2C298428760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1</c:f>
              <c:strCache>
                <c:ptCount val="10"/>
                <c:pt idx="0">
                  <c:v>Transportation</c:v>
                </c:pt>
                <c:pt idx="1">
                  <c:v>Industrials</c:v>
                </c:pt>
                <c:pt idx="2">
                  <c:v>Consumer Discretionary</c:v>
                </c:pt>
                <c:pt idx="3">
                  <c:v>Technology</c:v>
                </c:pt>
                <c:pt idx="4">
                  <c:v>Consumer Staples</c:v>
                </c:pt>
                <c:pt idx="5">
                  <c:v>Materials</c:v>
                </c:pt>
                <c:pt idx="6">
                  <c:v>Financial services</c:v>
                </c:pt>
                <c:pt idx="7">
                  <c:v>Healthcare</c:v>
                </c:pt>
                <c:pt idx="8">
                  <c:v>Utilities</c:v>
                </c:pt>
                <c:pt idx="9">
                  <c:v>Cash</c:v>
                </c:pt>
              </c:strCache>
            </c:strRef>
          </c:cat>
          <c:val>
            <c:numRef>
              <c:f>Sheet1!$B$2:$B$11</c:f>
              <c:numCache>
                <c:formatCode>General</c:formatCode>
                <c:ptCount val="10"/>
                <c:pt idx="0">
                  <c:v>0.0434753227300984</c:v>
                </c:pt>
                <c:pt idx="1">
                  <c:v>0.06118098162950726</c:v>
                </c:pt>
                <c:pt idx="2">
                  <c:v>0.09493236830602786</c:v>
                </c:pt>
                <c:pt idx="3">
                  <c:v>0.3010616704276201</c:v>
                </c:pt>
                <c:pt idx="4">
                  <c:v>0.21332978020362467</c:v>
                </c:pt>
                <c:pt idx="5">
                  <c:v>0.07935634116169918</c:v>
                </c:pt>
                <c:pt idx="6">
                  <c:v>0.13001859563783677</c:v>
                </c:pt>
                <c:pt idx="7">
                  <c:v>0.024957194079747124</c:v>
                </c:pt>
                <c:pt idx="8">
                  <c:v>0.04488730725594899</c:v>
                </c:pt>
                <c:pt idx="9">
                  <c:v>0.006800438567889719</c:v>
                </c:pt>
              </c:numCache>
            </c:numRef>
          </c:val>
          <c:extLst>
            <c:ext xmlns:c16="http://schemas.microsoft.com/office/drawing/2014/chart" uri="{C3380CC4-5D6E-409C-BE32-E72D297353CC}">
              <c16:uniqueId val="{00000012-0B11-408B-B9A7-2C2984287608}"/>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ZM"/>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8888888888889"/>
          <c:y val="0.10833333333333334"/>
          <c:w val="0.48333333333333334"/>
          <c:h val="0.72499999999999998"/>
        </c:manualLayout>
      </c:layout>
      <c:doughnutChart>
        <c:varyColors val="1"/>
        <c:ser>
          <c:idx val="0"/>
          <c:order val="0"/>
          <c:tx>
            <c:strRef>
              <c:f>Sheet1!$B$1</c:f>
              <c:strCache>
                <c:ptCount val="1"/>
                <c:pt idx="0">
                  <c:v>Weight</c:v>
                </c:pt>
              </c:strCache>
            </c:strRef>
          </c:tx>
          <c:spPr>
            <a:ln w="19050">
              <a:solidFill>
                <a:schemeClr val="bg1"/>
              </a:solidFill>
              <a:prstDash val="solid"/>
            </a:ln>
          </c:spPr>
          <c:dPt>
            <c:idx val="0"/>
            <c:bubble3D val="0"/>
            <c:spPr>
              <a:solidFill>
                <a:schemeClr val="accent6">
                  <a:lumMod val="50000"/>
                  <a:alpha val="70000"/>
                </a:schemeClr>
              </a:solidFill>
              <a:ln w="19050">
                <a:solidFill>
                  <a:schemeClr val="bg1"/>
                </a:solidFill>
                <a:prstDash val="solid"/>
              </a:ln>
              <a:effectLst/>
            </c:spPr>
            <c:extLst>
              <c:ext xmlns:c16="http://schemas.microsoft.com/office/drawing/2014/chart" uri="{C3380CC4-5D6E-409C-BE32-E72D297353CC}">
                <c16:uniqueId val="{00000001-221E-412B-872B-E2E00E15FA86}"/>
              </c:ext>
            </c:extLst>
          </c:dPt>
          <c:dPt>
            <c:idx val="1"/>
            <c:bubble3D val="0"/>
            <c:spPr>
              <a:solidFill>
                <a:schemeClr val="accent6">
                  <a:alpha val="70000"/>
                </a:schemeClr>
              </a:solidFill>
              <a:ln w="19050">
                <a:solidFill>
                  <a:schemeClr val="bg1"/>
                </a:solidFill>
                <a:prstDash val="solid"/>
              </a:ln>
              <a:effectLst/>
            </c:spPr>
            <c:extLst>
              <c:ext xmlns:c16="http://schemas.microsoft.com/office/drawing/2014/chart" uri="{C3380CC4-5D6E-409C-BE32-E72D297353CC}">
                <c16:uniqueId val="{00000003-221E-412B-872B-E2E00E15FA86}"/>
              </c:ext>
            </c:extLst>
          </c:dPt>
          <c:dPt>
            <c:idx val="2"/>
            <c:bubble3D val="0"/>
            <c:spPr>
              <a:solidFill>
                <a:schemeClr val="accent6">
                  <a:lumMod val="60000"/>
                  <a:lumOff val="40000"/>
                  <a:alpha val="70000"/>
                </a:schemeClr>
              </a:solidFill>
              <a:ln w="19050">
                <a:solidFill>
                  <a:schemeClr val="bg1"/>
                </a:solidFill>
                <a:prstDash val="solid"/>
              </a:ln>
              <a:effectLst/>
            </c:spPr>
            <c:extLst>
              <c:ext xmlns:c16="http://schemas.microsoft.com/office/drawing/2014/chart" uri="{C3380CC4-5D6E-409C-BE32-E72D297353CC}">
                <c16:uniqueId val="{00000005-221E-412B-872B-E2E00E15FA86}"/>
              </c:ext>
            </c:extLst>
          </c:dPt>
          <c:dPt>
            <c:idx val="3"/>
            <c:bubble3D val="0"/>
            <c:spPr>
              <a:solidFill>
                <a:schemeClr val="accent6">
                  <a:lumMod val="40000"/>
                  <a:lumOff val="60000"/>
                  <a:alpha val="70000"/>
                </a:schemeClr>
              </a:solidFill>
              <a:ln w="19050">
                <a:solidFill>
                  <a:schemeClr val="bg1"/>
                </a:solidFill>
                <a:prstDash val="solid"/>
              </a:ln>
              <a:effectLst/>
            </c:spPr>
            <c:extLst>
              <c:ext xmlns:c16="http://schemas.microsoft.com/office/drawing/2014/chart" uri="{C3380CC4-5D6E-409C-BE32-E72D297353CC}">
                <c16:uniqueId val="{00000007-221E-412B-872B-E2E00E15FA86}"/>
              </c:ext>
            </c:extLst>
          </c:dPt>
          <c:dPt>
            <c:idx val="4"/>
            <c:bubble3D val="0"/>
            <c:spPr>
              <a:solidFill>
                <a:schemeClr val="accent6">
                  <a:lumMod val="40000"/>
                  <a:lumOff val="60000"/>
                </a:schemeClr>
              </a:solidFill>
              <a:ln w="19050">
                <a:solidFill>
                  <a:schemeClr val="bg1"/>
                </a:solidFill>
                <a:prstDash val="solid"/>
              </a:ln>
              <a:effectLst/>
            </c:spPr>
            <c:extLst>
              <c:ext xmlns:c16="http://schemas.microsoft.com/office/drawing/2014/chart" uri="{C3380CC4-5D6E-409C-BE32-E72D297353CC}">
                <c16:uniqueId val="{00000009-221E-412B-872B-E2E00E15FA86}"/>
              </c:ext>
            </c:extLst>
          </c:dPt>
          <c:dLbls>
            <c:dLbl>
              <c:idx val="4"/>
              <c:layout>
                <c:manualLayout>
                  <c:x val="1.5113337943908963E-7"/>
                  <c:y val="-3.4201765796002842E-2"/>
                </c:manualLayout>
              </c:layout>
              <c:numFmt formatCode="0%" sourceLinked="0"/>
              <c:spPr>
                <a:solidFill>
                  <a:schemeClr val="accent6">
                    <a:lumMod val="40000"/>
                    <a:lumOff val="60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1978843380150127E-2"/>
                    </c:manualLayout>
                  </c15:layout>
                </c:ext>
                <c:ext xmlns:c16="http://schemas.microsoft.com/office/drawing/2014/chart" uri="{C3380CC4-5D6E-409C-BE32-E72D297353CC}">
                  <c16:uniqueId val="{00000009-221E-412B-872B-E2E00E15FA8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North America</c:v>
                </c:pt>
                <c:pt idx="1">
                  <c:v>Europe</c:v>
                </c:pt>
                <c:pt idx="2">
                  <c:v>Asia</c:v>
                </c:pt>
                <c:pt idx="3">
                  <c:v>Africa</c:v>
                </c:pt>
                <c:pt idx="4">
                  <c:v>Cash</c:v>
                </c:pt>
              </c:strCache>
            </c:strRef>
          </c:cat>
          <c:val>
            <c:numRef>
              <c:f>Sheet1!$B$2:$B$6</c:f>
              <c:numCache>
                <c:formatCode>General</c:formatCode>
                <c:ptCount val="5"/>
                <c:pt idx="0">
                  <c:v>0.6843331062140103</c:v>
                </c:pt>
                <c:pt idx="1">
                  <c:v>0.17545489939295086</c:v>
                </c:pt>
                <c:pt idx="2">
                  <c:v>0.08598923446429323</c:v>
                </c:pt>
                <c:pt idx="3">
                  <c:v>0.047422321360855835</c:v>
                </c:pt>
                <c:pt idx="4">
                  <c:v>0.006800438567889719</c:v>
                </c:pt>
              </c:numCache>
            </c:numRef>
          </c:val>
          <c:extLst>
            <c:ext xmlns:c16="http://schemas.microsoft.com/office/drawing/2014/chart" uri="{C3380CC4-5D6E-409C-BE32-E72D297353CC}">
              <c16:uniqueId val="{0000000A-221E-412B-872B-E2E00E15FA86}"/>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ZM"/>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1111</cdr:x>
      <cdr:y>0.01852</cdr:y>
    </cdr:from>
    <cdr:to>
      <cdr:x>0.01111</cdr:x>
      <cdr:y>0.01852</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A177D4A4-2BD7-A4F5-363F-90280D954C74}"/>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kern="120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83B0B4-4DB8-4356-89CF-1B6DF44DDB31}" type="datetimeFigureOut">
              <a:rPr lang="en-ZA" smtClean="0"/>
              <a:t>2025/10/29</a:t>
            </a:fld>
            <a:endParaRPr lang="en-ZA"/>
          </a:p>
        </p:txBody>
      </p:sp>
      <p:sp>
        <p:nvSpPr>
          <p:cNvPr id="4" name="Slide Image Placehold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0DABF5-BA7F-4826-9472-9B655D25709B}" type="slidenum">
              <a:rPr lang="en-ZA" smtClean="0"/>
              <a:t>‹#›</a:t>
            </a:fld>
            <a:endParaRPr lang="en-ZA"/>
          </a:p>
        </p:txBody>
      </p:sp>
    </p:spTree>
    <p:extLst>
      <p:ext uri="{BB962C8B-B14F-4D97-AF65-F5344CB8AC3E}">
        <p14:creationId xmlns:p14="http://schemas.microsoft.com/office/powerpoint/2010/main" val="140558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a:p>
        </p:txBody>
      </p:sp>
      <p:sp>
        <p:nvSpPr>
          <p:cNvPr id="4" name="Pladsholder til slidenummer 3"/>
          <p:cNvSpPr>
            <a:spLocks noGrp="1"/>
          </p:cNvSpPr>
          <p:nvPr>
            <p:ph type="sldNum" sz="quarter" idx="5"/>
          </p:nvPr>
        </p:nvSpPr>
        <p:spPr/>
        <p:txBody>
          <a:bodyPr/>
          <a:lstStyle/>
          <a:p>
            <a:fld id="{650DABF5-BA7F-4826-9472-9B655D25709B}" type="slidenum">
              <a:rPr lang="en-ZA" smtClean="0"/>
              <a:t>1</a:t>
            </a:fld>
            <a:endParaRPr lang="en-ZA"/>
          </a:p>
        </p:txBody>
      </p:sp>
    </p:spTree>
    <p:extLst>
      <p:ext uri="{BB962C8B-B14F-4D97-AF65-F5344CB8AC3E}">
        <p14:creationId xmlns:p14="http://schemas.microsoft.com/office/powerpoint/2010/main" val="3095676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84A5AF-FF03-F7F2-3CE6-1602601F8A1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547D27EC-E08E-F506-4546-8B2A87D6557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25348CF-22CF-96A1-7361-92C86CE0430A}"/>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938BFA3D-73A0-D53D-982C-61E3ED42827C}"/>
              </a:ext>
            </a:extLst>
          </p:cNvPr>
          <p:cNvSpPr>
            <a:spLocks noGrp="1"/>
          </p:cNvSpPr>
          <p:nvPr>
            <p:ph type="sldNum" sz="quarter" idx="5"/>
          </p:nvPr>
        </p:nvSpPr>
        <p:spPr/>
        <p:txBody>
          <a:bodyPr/>
          <a:lstStyle/>
          <a:p>
            <a:fld id="{650DABF5-BA7F-4826-9472-9B655D25709B}" type="slidenum">
              <a:rPr lang="en-ZA" smtClean="0"/>
              <a:t>2</a:t>
            </a:fld>
            <a:endParaRPr lang="en-ZA"/>
          </a:p>
        </p:txBody>
      </p:sp>
    </p:spTree>
    <p:extLst>
      <p:ext uri="{BB962C8B-B14F-4D97-AF65-F5344CB8AC3E}">
        <p14:creationId xmlns:p14="http://schemas.microsoft.com/office/powerpoint/2010/main" val="34195776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1855740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2194640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3685789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5816712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902164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4207644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99147E2-1A9D-4971-9230-11EE99FA0237}" type="datetimeFigureOut">
              <a:rPr lang="en-ZA" smtClean="0"/>
              <a:t>2025/10/29</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636956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9147E2-1A9D-4971-9230-11EE99FA0237}" type="datetimeFigureOut">
              <a:rPr lang="en-ZA" smtClean="0"/>
              <a:t>2025/10/29</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4751988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C92C441E-A24D-36FE-C833-C05192970D1D}"/>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Date Placeholder 1"/>
          <p:cNvSpPr>
            <a:spLocks noGrp="1"/>
          </p:cNvSpPr>
          <p:nvPr>
            <p:ph type="dt" sz="half" idx="10"/>
          </p:nvPr>
        </p:nvSpPr>
        <p:spPr/>
        <p:txBody>
          <a:bodyPr/>
          <a:lstStyle/>
          <a:p>
            <a:fld id="{899147E2-1A9D-4971-9230-11EE99FA0237}" type="datetimeFigureOut">
              <a:rPr lang="en-ZA" smtClean="0"/>
              <a:t>2025/10/29</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27097782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4477809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2383178517"/>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899147E2-1A9D-4971-9230-11EE99FA0237}" type="datetimeFigureOut">
              <a:rPr lang="en-ZA" smtClean="0"/>
              <a:t>2025/10/29</a:t>
            </a:fld>
            <a:endParaRPr lang="en-ZA"/>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01079F54-34F3-4503-B9A3-E06A6762BE0B}" type="slidenum">
              <a:rPr lang="en-ZA" smtClean="0"/>
              <a:t>‹#›</a:t>
            </a:fld>
            <a:endParaRPr lang="en-ZA"/>
          </a:p>
        </p:txBody>
      </p:sp>
    </p:spTree>
    <p:extLst>
      <p:ext uri="{BB962C8B-B14F-4D97-AF65-F5344CB8AC3E}">
        <p14:creationId xmlns:p14="http://schemas.microsoft.com/office/powerpoint/2010/main" val="281704546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hyperlink" Target="mailto::%20assetmanagement@kukulacapital.com" TargetMode="External"/><Relationship Id="rId6" Type="http://schemas.openxmlformats.org/officeDocument/2006/relationships/hyperlink" Target="http://www.kukulacapital.com/" TargetMode="External"/><Relationship Id="rId7" Type="http://schemas.openxmlformats.org/officeDocument/2006/relationships/hyperlink" Target="tel:+260%20954%20715%20547" TargetMode="External"/><Relationship Id="rId8" Type="http://schemas.openxmlformats.org/officeDocument/2006/relationships/image" Target="../media/image3.png"/><Relationship Id="rId9" Type="http://schemas.openxmlformats.org/officeDocument/2006/relationships/image" Target="../media/image4.svg"/><Relationship Id="rId10" Type="http://schemas.openxmlformats.org/officeDocument/2006/relationships/image" Target="../media/image5.png"/><Relationship Id="rId11" Type="http://schemas.openxmlformats.org/officeDocument/2006/relationships/image" Target="../media/image6.svg"/><Relationship Id="rId12" Type="http://schemas.openxmlformats.org/officeDocument/2006/relationships/image" Target="../media/image7.png"/><Relationship Id="rId13" Type="http://schemas.openxmlformats.org/officeDocument/2006/relationships/image" Target="../media/image8.svg"/><Relationship Id="rId14" Type="http://schemas.openxmlformats.org/officeDocument/2006/relationships/image" Target="../media/image9.png"/><Relationship Id="rId15" Type="http://schemas.microsoft.com/office/2007/relationships/hdphoto" Target="../media/hdphoto1.wdp"/><Relationship Id="rId16" Type="http://schemas.openxmlformats.org/officeDocument/2006/relationships/image" Target="../media/image10.png"/><Relationship Id="rId17" Type="http://schemas.microsoft.com/office/2007/relationships/hdphoto" Target="../media/hdphoto2.wdp"/><Relationship Id="rId18" Type="http://schemas.openxmlformats.org/officeDocument/2006/relationships/image" Target="../media/image11.png"/><Relationship Id="rId19" Type="http://schemas.openxmlformats.org/officeDocument/2006/relationships/image" Target="../media/image12.png"/><Relationship Id="rId20" Type="http://schemas.microsoft.com/office/2007/relationships/hdphoto" Target="../media/hdphoto3.wdp"/><Relationship Id="rId21" Type="http://schemas.openxmlformats.org/officeDocument/2006/relationships/image" Target="../media/image13.png"/><Relationship Id="rId22" Type="http://schemas.microsoft.com/office/2007/relationships/hdphoto" Target="../media/hdphoto4.wdp"/><Relationship Id="rId23" Type="http://schemas.openxmlformats.org/officeDocument/2006/relationships/chart" Target="../charts/char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hyperlink" Target="mailto::%20assetmanagement@kukulacapital.com" TargetMode="External"/><Relationship Id="rId6" Type="http://schemas.openxmlformats.org/officeDocument/2006/relationships/hyperlink" Target="http://www.kukulacapital.com/" TargetMode="External"/><Relationship Id="rId7" Type="http://schemas.openxmlformats.org/officeDocument/2006/relationships/hyperlink" Target="tel:+260%20954%20715%20547" TargetMode="External"/><Relationship Id="rId8" Type="http://schemas.openxmlformats.org/officeDocument/2006/relationships/image" Target="../media/image3.png"/><Relationship Id="rId9" Type="http://schemas.openxmlformats.org/officeDocument/2006/relationships/image" Target="../media/image4.svg"/><Relationship Id="rId10" Type="http://schemas.openxmlformats.org/officeDocument/2006/relationships/image" Target="../media/image5.png"/><Relationship Id="rId11" Type="http://schemas.openxmlformats.org/officeDocument/2006/relationships/image" Target="../media/image6.svg"/><Relationship Id="rId12" Type="http://schemas.openxmlformats.org/officeDocument/2006/relationships/image" Target="../media/image7.png"/><Relationship Id="rId13" Type="http://schemas.openxmlformats.org/officeDocument/2006/relationships/image" Target="../media/image8.svg"/><Relationship Id="rId14" Type="http://schemas.openxmlformats.org/officeDocument/2006/relationships/image" Target="../media/image14.png"/><Relationship Id="rId15" Type="http://schemas.openxmlformats.org/officeDocument/2006/relationships/image" Target="../media/image15.svg"/><Relationship Id="rId16" Type="http://schemas.openxmlformats.org/officeDocument/2006/relationships/image" Target="../media/image16.png"/><Relationship Id="rId17" Type="http://schemas.openxmlformats.org/officeDocument/2006/relationships/image" Target="../media/image17.svg"/><Relationship Id="rId18" Type="http://schemas.openxmlformats.org/officeDocument/2006/relationships/image" Target="../media/image18.png"/><Relationship Id="rId19" Type="http://schemas.openxmlformats.org/officeDocument/2006/relationships/image" Target="../media/image19.svg"/><Relationship Id="rId20" Type="http://schemas.openxmlformats.org/officeDocument/2006/relationships/image" Target="../media/image20.png"/><Relationship Id="rId21" Type="http://schemas.openxmlformats.org/officeDocument/2006/relationships/image" Target="../media/image21.svg"/><Relationship Id="rId22" Type="http://schemas.openxmlformats.org/officeDocument/2006/relationships/image" Target="../media/image22.png"/><Relationship Id="rId23" Type="http://schemas.openxmlformats.org/officeDocument/2006/relationships/image" Target="../media/image23.svg"/><Relationship Id="rId24" Type="http://schemas.openxmlformats.org/officeDocument/2006/relationships/image" Target="../media/image24.png"/><Relationship Id="rId25" Type="http://schemas.openxmlformats.org/officeDocument/2006/relationships/image" Target="../media/image25.svg"/><Relationship Id="rId26" Type="http://schemas.openxmlformats.org/officeDocument/2006/relationships/image" Target="../media/image26.png"/><Relationship Id="rId27" Type="http://schemas.openxmlformats.org/officeDocument/2006/relationships/image" Target="../media/image27.svg"/><Relationship Id="rId28" Type="http://schemas.openxmlformats.org/officeDocument/2006/relationships/image" Target="../media/image28.png"/><Relationship Id="rId29" Type="http://schemas.openxmlformats.org/officeDocument/2006/relationships/image" Target="../media/image29.svg"/><Relationship Id="rId30" Type="http://schemas.openxmlformats.org/officeDocument/2006/relationships/image" Target="../media/image30.png"/><Relationship Id="rId31" Type="http://schemas.openxmlformats.org/officeDocument/2006/relationships/image" Target="../media/image31.svg"/><Relationship Id="rId32" Type="http://schemas.openxmlformats.org/officeDocument/2006/relationships/image" Target="../media/image32.png"/><Relationship Id="rId33" Type="http://schemas.openxmlformats.org/officeDocument/2006/relationships/image" Target="../media/image33.svg"/><Relationship Id="rId34" Type="http://schemas.openxmlformats.org/officeDocument/2006/relationships/image" Target="../media/image34.png"/><Relationship Id="rId35" Type="http://schemas.openxmlformats.org/officeDocument/2006/relationships/image" Target="../media/image35.svg"/><Relationship Id="rId36" Type="http://schemas.openxmlformats.org/officeDocument/2006/relationships/image" Target="../media/image36.png"/><Relationship Id="rId37" Type="http://schemas.openxmlformats.org/officeDocument/2006/relationships/image" Target="../media/image37.svg"/><Relationship Id="rId38" Type="http://schemas.openxmlformats.org/officeDocument/2006/relationships/image" Target="../media/image38.png"/><Relationship Id="rId39" Type="http://schemas.openxmlformats.org/officeDocument/2006/relationships/image" Target="../media/image39.svg"/><Relationship Id="rId40" Type="http://schemas.openxmlformats.org/officeDocument/2006/relationships/image" Target="../media/image40.png"/><Relationship Id="rId41" Type="http://schemas.openxmlformats.org/officeDocument/2006/relationships/image" Target="../media/image41.svg"/><Relationship Id="rId42" Type="http://schemas.openxmlformats.org/officeDocument/2006/relationships/image" Target="../media/image42.png"/><Relationship Id="rId43" Type="http://schemas.microsoft.com/office/2007/relationships/hdphoto" Target="../media/hdphoto5.wdp"/><Relationship Id="rId44" Type="http://schemas.openxmlformats.org/officeDocument/2006/relationships/image" Target="../media/image43.png"/><Relationship Id="rId45" Type="http://schemas.microsoft.com/office/2007/relationships/hdphoto" Target="../media/hdphoto6.wdp"/><Relationship Id="rId46" Type="http://schemas.openxmlformats.org/officeDocument/2006/relationships/image" Target="../media/image44.png"/><Relationship Id="rId47" Type="http://schemas.microsoft.com/office/2007/relationships/hdphoto" Target="../media/hdphoto7.wdp"/><Relationship Id="rId48" Type="http://schemas.openxmlformats.org/officeDocument/2006/relationships/chart" Target="../charts/chart2.xml"/><Relationship Id="rId49"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47817319-FBEE-F9F8-A63A-DAF0A4BCAD55}"/>
              </a:ext>
            </a:extLst>
          </p:cNvPr>
          <p:cNvPicPr>
            <a:picLocks noChangeAspect="1"/>
          </p:cNvPicPr>
          <p:nvPr/>
        </p:nvPicPr>
        <p:blipFill>
          <a:blip r:embed="rId3"/>
          <a:srcRect l="22209" r="31694"/>
          <a:stretch>
            <a:fillRect/>
          </a:stretch>
        </p:blipFill>
        <p:spPr>
          <a:xfrm>
            <a:off x="0" y="0"/>
            <a:ext cx="6858000" cy="9918192"/>
          </a:xfrm>
          <a:prstGeom prst="rect">
            <a:avLst/>
          </a:prstGeom>
        </p:spPr>
      </p:pic>
      <p:sp>
        <p:nvSpPr>
          <p:cNvPr id="21" name="Rectangle 20">
            <a:extLst>
              <a:ext uri="{FF2B5EF4-FFF2-40B4-BE49-F238E27FC236}">
                <a16:creationId xmlns:a16="http://schemas.microsoft.com/office/drawing/2014/main" id="{05FBD931-77C6-E74C-6837-20795E9F3819}"/>
              </a:ext>
            </a:extLst>
          </p:cNvPr>
          <p:cNvSpPr/>
          <p:nvPr/>
        </p:nvSpPr>
        <p:spPr>
          <a:xfrm>
            <a:off x="0" y="0"/>
            <a:ext cx="6858000" cy="9918192"/>
          </a:xfrm>
          <a:prstGeom prst="rect">
            <a:avLst/>
          </a:prstGeom>
          <a:gradFill flip="none" rotWithShape="1">
            <a:gsLst>
              <a:gs pos="0">
                <a:schemeClr val="tx1">
                  <a:alpha val="95000"/>
                </a:schemeClr>
              </a:gs>
              <a:gs pos="100000">
                <a:schemeClr val="accent6">
                  <a:alpha val="95000"/>
                </a:schemeClr>
              </a:gs>
            </a:gsLst>
            <a:lin ang="27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noProof="0" dirty="0">
              <a:solidFill>
                <a:schemeClr val="bg1"/>
              </a:solidFill>
            </a:endParaRPr>
          </a:p>
        </p:txBody>
      </p:sp>
      <p:sp>
        <p:nvSpPr>
          <p:cNvPr id="1038" name="Rectangle 1037">
            <a:extLst>
              <a:ext uri="{FF2B5EF4-FFF2-40B4-BE49-F238E27FC236}">
                <a16:creationId xmlns:a16="http://schemas.microsoft.com/office/drawing/2014/main" id="{F7FF33B2-B67E-2C47-A922-E3B18CE0ACAA}"/>
              </a:ext>
            </a:extLst>
          </p:cNvPr>
          <p:cNvSpPr/>
          <p:nvPr/>
        </p:nvSpPr>
        <p:spPr>
          <a:xfrm>
            <a:off x="292608" y="292609"/>
            <a:ext cx="6272784" cy="613171"/>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pic>
        <p:nvPicPr>
          <p:cNvPr id="60" name="Picture 59" descr="Kukula Capital">
            <a:extLst>
              <a:ext uri="{FF2B5EF4-FFF2-40B4-BE49-F238E27FC236}">
                <a16:creationId xmlns:a16="http://schemas.microsoft.com/office/drawing/2014/main" id="{AA4FED92-FC9E-4AFE-A0C3-5F67F10831EF}"/>
              </a:ext>
            </a:extLst>
          </p:cNvPr>
          <p:cNvPicPr>
            <a:picLocks noChangeAspect="1" noChangeArrowheads="1"/>
          </p:cNvPicPr>
          <p:nvPr/>
        </p:nvPicPr>
        <p:blipFill>
          <a:blip r:embed="rId4">
            <a:biLevel thresh="25000"/>
            <a:extLst>
              <a:ext uri="{28A0092B-C50C-407E-A947-70E740481C1C}">
                <a14:useLocalDpi xmlns:a14="http://schemas.microsoft.com/office/drawing/2010/main"/>
              </a:ext>
            </a:extLst>
          </a:blip>
          <a:srcRect/>
          <a:stretch>
            <a:fillRect/>
          </a:stretch>
        </p:blipFill>
        <p:spPr bwMode="auto">
          <a:xfrm>
            <a:off x="5183238" y="420406"/>
            <a:ext cx="1234212" cy="357576"/>
          </a:xfrm>
          <a:prstGeom prst="rect">
            <a:avLst/>
          </a:prstGeom>
          <a:noFill/>
          <a:extLst>
            <a:ext uri="{909E8E84-426E-40DD-AFC4-6F175D3DCCD1}">
              <a14:hiddenFill xmlns:a14="http://schemas.microsoft.com/office/drawing/2010/main">
                <a:solidFill>
                  <a:srgbClr val="FFFFFF"/>
                </a:solidFill>
              </a14:hiddenFill>
            </a:ext>
          </a:extLst>
        </p:spPr>
      </p:pic>
      <p:sp>
        <p:nvSpPr>
          <p:cNvPr id="61" name="PORTFOLIO_NAME">
            <a:extLst>
              <a:ext uri="{FF2B5EF4-FFF2-40B4-BE49-F238E27FC236}">
                <a16:creationId xmlns:a16="http://schemas.microsoft.com/office/drawing/2014/main" id="{B2735D28-9572-422E-9448-96127A3D51A0}"/>
              </a:ext>
            </a:extLst>
          </p:cNvPr>
          <p:cNvSpPr txBox="1"/>
          <p:nvPr/>
        </p:nvSpPr>
        <p:spPr>
          <a:xfrm>
            <a:off x="292608" y="348002"/>
            <a:ext cx="436473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keena" pitchFamily="2" charset="0"/>
              </a:rPr>
              <a:t>Kukula Global Growth Portfolio</a:t>
            </a:r>
            <a:endParaRPr kumimoji="0" lang="en-ZA" sz="1600" b="0" i="0" u="none" strike="noStrike" kern="1200" cap="none" spc="0" normalizeH="0" baseline="0" noProof="0" dirty="0">
              <a:ln>
                <a:noFill/>
              </a:ln>
              <a:solidFill>
                <a:prstClr val="white"/>
              </a:solidFill>
              <a:effectLst/>
              <a:uLnTx/>
              <a:uFillTx/>
              <a:latin typeface="Skeena" pitchFamily="2" charset="0"/>
            </a:endParaRPr>
          </a:p>
        </p:txBody>
      </p:sp>
      <p:sp>
        <p:nvSpPr>
          <p:cNvPr id="1024" name="DATE_ISSUED">
            <a:extLst>
              <a:ext uri="{FF2B5EF4-FFF2-40B4-BE49-F238E27FC236}">
                <a16:creationId xmlns:a16="http://schemas.microsoft.com/office/drawing/2014/main" id="{54AD899D-67A1-4034-848B-0D2C28E83CE6}"/>
              </a:ext>
            </a:extLst>
          </p:cNvPr>
          <p:cNvSpPr txBox="1"/>
          <p:nvPr/>
        </p:nvSpPr>
        <p:spPr>
          <a:xfrm>
            <a:off x="292608" y="588777"/>
            <a:ext cx="4157472" cy="261610"/>
          </a:xfrm>
          <a:prstGeom prst="rect">
            <a:avLst/>
          </a:prstGeom>
          <a:noFill/>
        </p:spPr>
        <p:txBody>
          <a:bodyPr wrap="square" lIns="91440" tIns="45720" rIns="91440" bIns="45720" rtlCol="0" anchor="t">
            <a:spAutoFit/>
          </a:bodyPr>
          <a:lstStyle/>
          <a:p>
            <a:pPr>
              <a:defRPr/>
            </a:pPr>
            <a:r>
              <a:rPr kumimoji="0" lang="en-US" sz="1100" b="0" i="0" u="none" strike="noStrike" kern="1200" cap="none" spc="0" normalizeH="0" baseline="0" noProof="0" dirty="0">
                <a:ln>
                  <a:noFill/>
                </a:ln>
                <a:solidFill>
                  <a:prstClr val="white"/>
                </a:solidFill>
                <a:effectLst/>
                <a:uLnTx/>
                <a:uFillTx/>
                <a:latin typeface="+mj-lt"/>
              </a:rPr>
              <a:t>Fact Sheet|Issued 30 October 2025</a:t>
            </a:r>
            <a:r>
              <a:rPr kumimoji="0" lang="en-US" sz="1100" b="0" i="0" u="none" strike="noStrike" kern="1200" cap="none" spc="0" normalizeH="0" baseline="0" noProof="0" dirty="0" err="1">
                <a:ln>
                  <a:noFill/>
                </a:ln>
                <a:solidFill>
                  <a:prstClr val="white"/>
                </a:solidFill>
                <a:effectLst/>
                <a:uLnTx/>
                <a:uFillTx/>
                <a:latin typeface="+mj-lt"/>
              </a:rPr>
              <a:t/>
            </a:r>
            <a:r>
              <a:rPr kumimoji="0" lang="en-US" sz="1100" b="0" i="0" u="none" strike="noStrike" kern="1200" cap="none" spc="0" normalizeH="0" baseline="0" noProof="0" dirty="0">
                <a:ln>
                  <a:noFill/>
                </a:ln>
                <a:solidFill>
                  <a:prstClr val="white"/>
                </a:solidFill>
                <a:effectLst/>
                <a:uLnTx/>
                <a:uFillTx/>
                <a:latin typeface="+mj-lt"/>
              </a:rPr>
              <a:t/>
            </a:r>
            <a:r>
              <a:rPr lang="en-US" sz="1100" dirty="0">
                <a:solidFill>
                  <a:prstClr val="white"/>
                </a:solidFill>
                <a:latin typeface="+mj-lt"/>
              </a:rPr>
              <a:t/>
            </a:r>
            <a:r>
              <a:rPr kumimoji="0" lang="en-US" sz="1100" b="0" i="0" u="none" strike="noStrike" kern="1200" cap="none" spc="0" normalizeH="0" baseline="0" noProof="0" dirty="0">
                <a:ln>
                  <a:noFill/>
                </a:ln>
                <a:solidFill>
                  <a:prstClr val="white"/>
                </a:solidFill>
                <a:effectLst/>
                <a:uLnTx/>
                <a:uFillTx/>
                <a:latin typeface="+mj-lt"/>
              </a:rPr>
              <a:t/>
            </a:r>
          </a:p>
        </p:txBody>
      </p:sp>
      <p:grpSp>
        <p:nvGrpSpPr>
          <p:cNvPr id="1028" name="Group 1027">
            <a:extLst>
              <a:ext uri="{FF2B5EF4-FFF2-40B4-BE49-F238E27FC236}">
                <a16:creationId xmlns:a16="http://schemas.microsoft.com/office/drawing/2014/main" id="{CAABA66D-E5A9-A768-B6E3-25B349636CF6}"/>
              </a:ext>
            </a:extLst>
          </p:cNvPr>
          <p:cNvGrpSpPr/>
          <p:nvPr/>
        </p:nvGrpSpPr>
        <p:grpSpPr>
          <a:xfrm>
            <a:off x="557784" y="9657178"/>
            <a:ext cx="5742433" cy="200055"/>
            <a:chOff x="521207" y="9718138"/>
            <a:chExt cx="5742433" cy="200055"/>
          </a:xfrm>
        </p:grpSpPr>
        <p:sp>
          <p:nvSpPr>
            <p:cNvPr id="28" name="TextBox 27">
              <a:extLst>
                <a:ext uri="{FF2B5EF4-FFF2-40B4-BE49-F238E27FC236}">
                  <a16:creationId xmlns:a16="http://schemas.microsoft.com/office/drawing/2014/main" id="{960CACED-06CB-3EFD-A814-35C4F800DF45}"/>
                </a:ext>
              </a:extLst>
            </p:cNvPr>
            <p:cNvSpPr txBox="1"/>
            <p:nvPr/>
          </p:nvSpPr>
          <p:spPr>
            <a:xfrm>
              <a:off x="521207" y="9718138"/>
              <a:ext cx="5742433" cy="200055"/>
            </a:xfrm>
            <a:prstGeom prst="rect">
              <a:avLst/>
            </a:prstGeom>
            <a:noFill/>
          </p:spPr>
          <p:txBody>
            <a:bodyPr wrap="square" rtlCol="0">
              <a:spAutoFit/>
            </a:bodyPr>
            <a:lstStyle/>
            <a:p>
              <a:pPr algn="ctr"/>
              <a:r>
                <a:rPr lang="en-US" sz="700" dirty="0">
                  <a:solidFill>
                    <a:schemeClr val="bg1"/>
                  </a:solidFill>
                  <a:latin typeface="Helvetica" panose="020B0604020202020204" pitchFamily="34" charset="0"/>
                  <a:cs typeface="Helvetica" panose="020B0604020202020204" pitchFamily="34" charset="0"/>
                  <a:hlinkClick r:id="rId5">
                    <a:extLst>
                      <a:ext uri="{A12FA001-AC4F-418D-AE19-62706E023703}">
                        <ahyp:hlinkClr xmlns:ahyp="http://schemas.microsoft.com/office/drawing/2018/hyperlinkcolor" val="tx"/>
                      </a:ext>
                    </a:extLst>
                  </a:hlinkClick>
                </a:rPr>
                <a:t>assetmanagement@kukulacapital.com </a:t>
              </a:r>
              <a:r>
                <a:rPr lang="en-US" sz="700" dirty="0">
                  <a:solidFill>
                    <a:schemeClr val="bg1"/>
                  </a:solidFill>
                  <a:latin typeface="Helvetica" panose="020B0604020202020204" pitchFamily="34" charset="0"/>
                  <a:cs typeface="Helvetica" panose="020B0604020202020204" pitchFamily="34" charset="0"/>
                </a:rPr>
                <a:t>        </a:t>
              </a:r>
              <a:r>
                <a:rPr lang="en-US" sz="700" dirty="0">
                  <a:solidFill>
                    <a:schemeClr val="bg1"/>
                  </a:solidFill>
                  <a:latin typeface="Helvetica" panose="020B0604020202020204" pitchFamily="34" charset="0"/>
                  <a:cs typeface="Helvetica" panose="020B0604020202020204" pitchFamily="34" charset="0"/>
                  <a:hlinkClick r:id="rId6">
                    <a:extLst>
                      <a:ext uri="{A12FA001-AC4F-418D-AE19-62706E023703}">
                        <ahyp:hlinkClr xmlns:ahyp="http://schemas.microsoft.com/office/drawing/2018/hyperlinkcolor" val="tx"/>
                      </a:ext>
                    </a:extLst>
                  </a:hlinkClick>
                </a:rPr>
                <a:t>www.kukulacapital.com</a:t>
              </a:r>
              <a:r>
                <a:rPr lang="en-US" sz="700" dirty="0">
                  <a:solidFill>
                    <a:schemeClr val="bg1"/>
                  </a:solidFill>
                  <a:latin typeface="Helvetica" panose="020B0604020202020204" pitchFamily="34" charset="0"/>
                  <a:cs typeface="Helvetica" panose="020B0604020202020204" pitchFamily="34" charset="0"/>
                </a:rPr>
                <a:t>        </a:t>
              </a:r>
              <a:r>
                <a:rPr lang="en-ZA" sz="700" b="0" i="0" u="none" strike="noStrike" dirty="0">
                  <a:solidFill>
                    <a:schemeClr val="bg1"/>
                  </a:solidFill>
                  <a:effectLst/>
                  <a:latin typeface="Helvetica" panose="020B0604020202020204" pitchFamily="34" charset="0"/>
                  <a:cs typeface="Helvetica" panose="020B0604020202020204" pitchFamily="34" charset="0"/>
                  <a:hlinkClick r:id="rId7">
                    <a:extLst>
                      <a:ext uri="{A12FA001-AC4F-418D-AE19-62706E023703}">
                        <ahyp:hlinkClr xmlns:ahyp="http://schemas.microsoft.com/office/drawing/2018/hyperlinkcolor" val="tx"/>
                      </a:ext>
                    </a:extLst>
                  </a:hlinkClick>
                </a:rPr>
                <a:t>+260 954 715 547</a:t>
              </a:r>
              <a:endParaRPr lang="en-ZA" sz="700" dirty="0">
                <a:solidFill>
                  <a:schemeClr val="bg1"/>
                </a:solidFill>
                <a:latin typeface="Helvetica" panose="020B0604020202020204" pitchFamily="34" charset="0"/>
                <a:cs typeface="Helvetica" panose="020B0604020202020204" pitchFamily="34" charset="0"/>
              </a:endParaRPr>
            </a:p>
          </p:txBody>
        </p:sp>
        <p:pic>
          <p:nvPicPr>
            <p:cNvPr id="62" name="Graphic 61">
              <a:extLst>
                <a:ext uri="{FF2B5EF4-FFF2-40B4-BE49-F238E27FC236}">
                  <a16:creationId xmlns:a16="http://schemas.microsoft.com/office/drawing/2014/main" id="{90042EF2-03E5-FB3F-427B-CD408CFBC546}"/>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1407940" y="9746165"/>
              <a:ext cx="144000" cy="144000"/>
            </a:xfrm>
            <a:prstGeom prst="rect">
              <a:avLst/>
            </a:prstGeom>
          </p:spPr>
        </p:pic>
        <p:pic>
          <p:nvPicPr>
            <p:cNvPr id="1025" name="Graphic 1024">
              <a:extLst>
                <a:ext uri="{FF2B5EF4-FFF2-40B4-BE49-F238E27FC236}">
                  <a16:creationId xmlns:a16="http://schemas.microsoft.com/office/drawing/2014/main" id="{85142DE5-3361-D9D8-B2E7-6EE43510FC64}"/>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3168967" y="9746165"/>
              <a:ext cx="144000" cy="144000"/>
            </a:xfrm>
            <a:prstGeom prst="rect">
              <a:avLst/>
            </a:prstGeom>
          </p:spPr>
        </p:pic>
        <p:pic>
          <p:nvPicPr>
            <p:cNvPr id="1026" name="Graphic 1025">
              <a:extLst>
                <a:ext uri="{FF2B5EF4-FFF2-40B4-BE49-F238E27FC236}">
                  <a16:creationId xmlns:a16="http://schemas.microsoft.com/office/drawing/2014/main" id="{09BDD64A-648A-D3B1-1CD1-D88F68203600}"/>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4292173" y="9746164"/>
              <a:ext cx="144000" cy="144000"/>
            </a:xfrm>
            <a:prstGeom prst="rect">
              <a:avLst/>
            </a:prstGeom>
          </p:spPr>
        </p:pic>
      </p:grpSp>
      <p:sp>
        <p:nvSpPr>
          <p:cNvPr id="1041" name="Rectangle 1040">
            <a:extLst>
              <a:ext uri="{FF2B5EF4-FFF2-40B4-BE49-F238E27FC236}">
                <a16:creationId xmlns:a16="http://schemas.microsoft.com/office/drawing/2014/main" id="{A5111EF6-7BB1-A829-52E0-DABA4A249720}"/>
              </a:ext>
            </a:extLst>
          </p:cNvPr>
          <p:cNvSpPr/>
          <p:nvPr/>
        </p:nvSpPr>
        <p:spPr>
          <a:xfrm>
            <a:off x="292608" y="1013780"/>
            <a:ext cx="3082392" cy="5731577"/>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5" name="Rectangle 1044">
            <a:extLst>
              <a:ext uri="{FF2B5EF4-FFF2-40B4-BE49-F238E27FC236}">
                <a16:creationId xmlns:a16="http://schemas.microsoft.com/office/drawing/2014/main" id="{93ECBF78-E095-0FD7-1064-267F2E9C4CC2}"/>
              </a:ext>
            </a:extLst>
          </p:cNvPr>
          <p:cNvSpPr/>
          <p:nvPr/>
        </p:nvSpPr>
        <p:spPr>
          <a:xfrm>
            <a:off x="292608" y="6853355"/>
            <a:ext cx="6272784" cy="2772228"/>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6" name="Rectangle 1045">
            <a:extLst>
              <a:ext uri="{FF2B5EF4-FFF2-40B4-BE49-F238E27FC236}">
                <a16:creationId xmlns:a16="http://schemas.microsoft.com/office/drawing/2014/main" id="{56CCE26D-359B-7FB8-88E1-4FA9AE8978ED}"/>
              </a:ext>
            </a:extLst>
          </p:cNvPr>
          <p:cNvSpPr/>
          <p:nvPr/>
        </p:nvSpPr>
        <p:spPr>
          <a:xfrm>
            <a:off x="6565392" y="9625583"/>
            <a:ext cx="292608" cy="292609"/>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bg1"/>
                </a:solidFill>
              </a:rPr>
              <a:t>1</a:t>
            </a:r>
            <a:endParaRPr lang="en-GB" sz="1200" dirty="0">
              <a:solidFill>
                <a:schemeClr val="bg1"/>
              </a:solidFill>
            </a:endParaRPr>
          </a:p>
        </p:txBody>
      </p:sp>
      <p:sp>
        <p:nvSpPr>
          <p:cNvPr id="1048" name="Rectangle 1047">
            <a:extLst>
              <a:ext uri="{FF2B5EF4-FFF2-40B4-BE49-F238E27FC236}">
                <a16:creationId xmlns:a16="http://schemas.microsoft.com/office/drawing/2014/main" id="{7962D9A7-5942-AC53-AE92-AF721B36A947}"/>
              </a:ext>
            </a:extLst>
          </p:cNvPr>
          <p:cNvSpPr/>
          <p:nvPr/>
        </p:nvSpPr>
        <p:spPr>
          <a:xfrm>
            <a:off x="3483000" y="1013780"/>
            <a:ext cx="3082392" cy="5731577"/>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grpSp>
        <p:nvGrpSpPr>
          <p:cNvPr id="1087" name="Group 1086">
            <a:extLst>
              <a:ext uri="{FF2B5EF4-FFF2-40B4-BE49-F238E27FC236}">
                <a16:creationId xmlns:a16="http://schemas.microsoft.com/office/drawing/2014/main" id="{06B72A2C-5F73-D79D-13B4-8D727F7F5D7D}"/>
              </a:ext>
            </a:extLst>
          </p:cNvPr>
          <p:cNvGrpSpPr/>
          <p:nvPr/>
        </p:nvGrpSpPr>
        <p:grpSpPr>
          <a:xfrm>
            <a:off x="292608" y="1013780"/>
            <a:ext cx="3082392" cy="232459"/>
            <a:chOff x="292608" y="1013780"/>
            <a:chExt cx="3082392" cy="232459"/>
          </a:xfrm>
        </p:grpSpPr>
        <p:cxnSp>
          <p:nvCxnSpPr>
            <p:cNvPr id="1049" name="Straight Connector 1048">
              <a:extLst>
                <a:ext uri="{FF2B5EF4-FFF2-40B4-BE49-F238E27FC236}">
                  <a16:creationId xmlns:a16="http://schemas.microsoft.com/office/drawing/2014/main" id="{0A71B9AF-2A7E-58DB-5199-3098FB55D638}"/>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50" name="Rectangle 1049">
              <a:extLst>
                <a:ext uri="{FF2B5EF4-FFF2-40B4-BE49-F238E27FC236}">
                  <a16:creationId xmlns:a16="http://schemas.microsoft.com/office/drawing/2014/main" id="{AA11C72D-7F22-8F5E-781C-48AC4F0C3D51}"/>
                </a:ext>
              </a:extLst>
            </p:cNvPr>
            <p:cNvSpPr/>
            <p:nvPr/>
          </p:nvSpPr>
          <p:spPr>
            <a:xfrm>
              <a:off x="30022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I</a:t>
              </a:r>
              <a:r>
                <a:rPr lang="en-GB" sz="1000" b="1" dirty="0" err="1">
                  <a:solidFill>
                    <a:schemeClr val="bg1"/>
                  </a:solidFill>
                  <a:latin typeface="Bierstadt"/>
                </a:rPr>
                <a:t>nvestment</a:t>
              </a:r>
              <a:r>
                <a:rPr lang="en-GB" sz="1000" b="1" dirty="0">
                  <a:solidFill>
                    <a:schemeClr val="bg1"/>
                  </a:solidFill>
                  <a:latin typeface="Bierstadt"/>
                </a:rPr>
                <a:t> objective &amp; philosophy</a:t>
              </a:r>
            </a:p>
          </p:txBody>
        </p:sp>
      </p:grpSp>
      <p:sp>
        <p:nvSpPr>
          <p:cNvPr id="1051" name="TextBox 1050">
            <a:extLst>
              <a:ext uri="{FF2B5EF4-FFF2-40B4-BE49-F238E27FC236}">
                <a16:creationId xmlns:a16="http://schemas.microsoft.com/office/drawing/2014/main" id="{D48B7A90-0C92-ED60-2FC0-B121F36CC0F4}"/>
              </a:ext>
            </a:extLst>
          </p:cNvPr>
          <p:cNvSpPr txBox="1"/>
          <p:nvPr/>
        </p:nvSpPr>
        <p:spPr>
          <a:xfrm>
            <a:off x="292607" y="1246239"/>
            <a:ext cx="3082392" cy="2308324"/>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The Kukula Global Growth Portfolio is a moderate- to high-risk, growth-oriented equity portfolio designed to deliver long-term returns through capital appreciation and dividends. The portfolio seeks exposure to global leaders in sectors driving structural change, including technology, financials, and critical resources, while maintaining diversification across regions and industries.</a:t>
            </a:r>
          </a:p>
          <a:p>
            <a:pPr marL="0" marR="0" lvl="0" indent="0" algn="just" defTabSz="457200" rtl="0" eaLnBrk="1" fontAlgn="auto" latinLnBrk="0" hangingPunct="1">
              <a:lnSpc>
                <a:spcPct val="100000"/>
              </a:lnSpc>
              <a:spcBef>
                <a:spcPts val="0"/>
              </a:spcBef>
              <a:spcAft>
                <a:spcPts val="0"/>
              </a:spcAft>
              <a:buClrTx/>
              <a:buSzTx/>
              <a:buFontTx/>
              <a:buNone/>
              <a:tabLst/>
              <a:defRPr/>
            </a:pPr>
            <a:endParaRPr lang="en-US" sz="900" dirty="0">
              <a:solidFill>
                <a:schemeClr val="bg1"/>
              </a:solidFill>
              <a:latin typeface="Bierstadt" panose="020B0004020202020204" pitchFamily="34" charset="0"/>
              <a:cs typeface="Helvetica"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We invest in responsible, high-quality companies with strong fundamentals, sustainable growth prospects, and sound governance. Our investment process is active and research-driven. Kukula’s portfolio management is characterized by agility, allowing us to swiftly adjust positioning and restructure holdings when market conditions change, protecting value while capturing opportunities in emerging global trends.</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grpSp>
        <p:nvGrpSpPr>
          <p:cNvPr id="4" name="Group 3">
            <a:extLst>
              <a:ext uri="{FF2B5EF4-FFF2-40B4-BE49-F238E27FC236}">
                <a16:creationId xmlns:a16="http://schemas.microsoft.com/office/drawing/2014/main" id="{2363E094-084C-5C1E-34A6-CE0088951EEF}"/>
              </a:ext>
            </a:extLst>
          </p:cNvPr>
          <p:cNvGrpSpPr/>
          <p:nvPr/>
        </p:nvGrpSpPr>
        <p:grpSpPr>
          <a:xfrm>
            <a:off x="845287" y="4363577"/>
            <a:ext cx="1694214" cy="775351"/>
            <a:chOff x="845287" y="3807317"/>
            <a:chExt cx="1694214" cy="775351"/>
          </a:xfrm>
        </p:grpSpPr>
        <p:cxnSp>
          <p:nvCxnSpPr>
            <p:cNvPr id="1070" name="Straight Connector 1069">
              <a:extLst>
                <a:ext uri="{FF2B5EF4-FFF2-40B4-BE49-F238E27FC236}">
                  <a16:creationId xmlns:a16="http://schemas.microsoft.com/office/drawing/2014/main" id="{2602B7CB-5E08-C13E-40FB-3E3190CAABE5}"/>
                </a:ext>
              </a:extLst>
            </p:cNvPr>
            <p:cNvCxnSpPr/>
            <p:nvPr/>
          </p:nvCxnSpPr>
          <p:spPr>
            <a:xfrm>
              <a:off x="845287" y="3901103"/>
              <a:ext cx="176042" cy="0"/>
            </a:xfrm>
            <a:prstGeom prst="line">
              <a:avLst/>
            </a:prstGeom>
            <a:ln w="38100">
              <a:solidFill>
                <a:srgbClr val="92D050"/>
              </a:solidFill>
              <a:prstDash val="solid"/>
            </a:ln>
          </p:spPr>
          <p:style>
            <a:lnRef idx="1">
              <a:schemeClr val="accent1"/>
            </a:lnRef>
            <a:fillRef idx="0">
              <a:schemeClr val="accent1"/>
            </a:fillRef>
            <a:effectRef idx="0">
              <a:schemeClr val="accent1"/>
            </a:effectRef>
            <a:fontRef idx="minor">
              <a:schemeClr val="tx1"/>
            </a:fontRef>
          </p:style>
        </p:cxnSp>
        <p:sp>
          <p:nvSpPr>
            <p:cNvPr id="1075" name="Rectangle 1074">
              <a:extLst>
                <a:ext uri="{FF2B5EF4-FFF2-40B4-BE49-F238E27FC236}">
                  <a16:creationId xmlns:a16="http://schemas.microsoft.com/office/drawing/2014/main" id="{6025C487-0FBB-0D38-1A73-63B7E914BB20}"/>
                </a:ext>
              </a:extLst>
            </p:cNvPr>
            <p:cNvSpPr/>
            <p:nvPr/>
          </p:nvSpPr>
          <p:spPr>
            <a:xfrm>
              <a:off x="1021329" y="3807317"/>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Portfolio return (USD)</a:t>
              </a:r>
              <a:endParaRPr lang="en-GB" sz="1400" dirty="0">
                <a:solidFill>
                  <a:schemeClr val="bg1"/>
                </a:solidFill>
                <a:latin typeface="Bierstadt" panose="020B0004020202020204" pitchFamily="34" charset="0"/>
              </a:endParaRPr>
            </a:p>
          </p:txBody>
        </p:sp>
        <p:cxnSp>
          <p:nvCxnSpPr>
            <p:cNvPr id="1068" name="Straight Connector 1067">
              <a:extLst>
                <a:ext uri="{FF2B5EF4-FFF2-40B4-BE49-F238E27FC236}">
                  <a16:creationId xmlns:a16="http://schemas.microsoft.com/office/drawing/2014/main" id="{0EECB6F3-3516-0EF1-ED24-EDF6996DBBAD}"/>
                </a:ext>
              </a:extLst>
            </p:cNvPr>
            <p:cNvCxnSpPr/>
            <p:nvPr/>
          </p:nvCxnSpPr>
          <p:spPr>
            <a:xfrm>
              <a:off x="845287" y="4097029"/>
              <a:ext cx="176042" cy="0"/>
            </a:xfrm>
            <a:prstGeom prst="line">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73" name="Rectangle 1072">
              <a:extLst>
                <a:ext uri="{FF2B5EF4-FFF2-40B4-BE49-F238E27FC236}">
                  <a16:creationId xmlns:a16="http://schemas.microsoft.com/office/drawing/2014/main" id="{37B38338-8830-D42A-78E5-19D2D9D00DE1}"/>
                </a:ext>
              </a:extLst>
            </p:cNvPr>
            <p:cNvSpPr/>
            <p:nvPr/>
          </p:nvSpPr>
          <p:spPr>
            <a:xfrm>
              <a:off x="1021329" y="4003243"/>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Benchmark return (USD)</a:t>
              </a:r>
              <a:endParaRPr lang="en-GB" sz="1400" dirty="0">
                <a:solidFill>
                  <a:schemeClr val="bg1"/>
                </a:solidFill>
                <a:latin typeface="Bierstadt" panose="020B0004020202020204" pitchFamily="34" charset="0"/>
              </a:endParaRPr>
            </a:p>
          </p:txBody>
        </p:sp>
        <p:cxnSp>
          <p:nvCxnSpPr>
            <p:cNvPr id="1074" name="Straight Connector 1073">
              <a:extLst>
                <a:ext uri="{FF2B5EF4-FFF2-40B4-BE49-F238E27FC236}">
                  <a16:creationId xmlns:a16="http://schemas.microsoft.com/office/drawing/2014/main" id="{01FF496C-1B63-9F7A-E785-BD8601DA11B9}"/>
                </a:ext>
              </a:extLst>
            </p:cNvPr>
            <p:cNvCxnSpPr/>
            <p:nvPr/>
          </p:nvCxnSpPr>
          <p:spPr>
            <a:xfrm>
              <a:off x="845287" y="4292957"/>
              <a:ext cx="176042" cy="0"/>
            </a:xfrm>
            <a:prstGeom prst="line">
              <a:avLst/>
            </a:prstGeom>
            <a:ln w="38100">
              <a:solidFill>
                <a:schemeClr val="accent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sp>
          <p:nvSpPr>
            <p:cNvPr id="1071" name="Rectangle 1070">
              <a:extLst>
                <a:ext uri="{FF2B5EF4-FFF2-40B4-BE49-F238E27FC236}">
                  <a16:creationId xmlns:a16="http://schemas.microsoft.com/office/drawing/2014/main" id="{5EF8955E-1811-625A-2E9D-62F78E7966F0}"/>
                </a:ext>
              </a:extLst>
            </p:cNvPr>
            <p:cNvSpPr/>
            <p:nvPr/>
          </p:nvSpPr>
          <p:spPr>
            <a:xfrm>
              <a:off x="1021329" y="4199170"/>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Portfolio return (ZMW)</a:t>
              </a:r>
              <a:endParaRPr lang="en-GB" sz="1400" dirty="0">
                <a:solidFill>
                  <a:schemeClr val="bg1"/>
                </a:solidFill>
                <a:latin typeface="Bierstadt" panose="020B0004020202020204" pitchFamily="34" charset="0"/>
              </a:endParaRPr>
            </a:p>
          </p:txBody>
        </p:sp>
        <p:cxnSp>
          <p:nvCxnSpPr>
            <p:cNvPr id="1072" name="Straight Connector 1071">
              <a:extLst>
                <a:ext uri="{FF2B5EF4-FFF2-40B4-BE49-F238E27FC236}">
                  <a16:creationId xmlns:a16="http://schemas.microsoft.com/office/drawing/2014/main" id="{067EAF58-9C59-E403-E8BE-82708F20FD33}"/>
                </a:ext>
              </a:extLst>
            </p:cNvPr>
            <p:cNvCxnSpPr/>
            <p:nvPr/>
          </p:nvCxnSpPr>
          <p:spPr>
            <a:xfrm>
              <a:off x="845287" y="4488883"/>
              <a:ext cx="176042" cy="0"/>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069" name="Rectangle 1068">
              <a:extLst>
                <a:ext uri="{FF2B5EF4-FFF2-40B4-BE49-F238E27FC236}">
                  <a16:creationId xmlns:a16="http://schemas.microsoft.com/office/drawing/2014/main" id="{E01969D9-225F-E45F-5920-F199404DF842}"/>
                </a:ext>
              </a:extLst>
            </p:cNvPr>
            <p:cNvSpPr/>
            <p:nvPr/>
          </p:nvSpPr>
          <p:spPr>
            <a:xfrm>
              <a:off x="1021329" y="4395097"/>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Benchmark return (ZMW)</a:t>
              </a:r>
              <a:endParaRPr lang="en-GB" sz="1400" dirty="0">
                <a:solidFill>
                  <a:schemeClr val="bg1"/>
                </a:solidFill>
                <a:latin typeface="Bierstadt" panose="020B0004020202020204" pitchFamily="34" charset="0"/>
              </a:endParaRPr>
            </a:p>
          </p:txBody>
        </p:sp>
      </p:grpSp>
      <p:grpSp>
        <p:nvGrpSpPr>
          <p:cNvPr id="1113" name="Group 1112">
            <a:extLst>
              <a:ext uri="{FF2B5EF4-FFF2-40B4-BE49-F238E27FC236}">
                <a16:creationId xmlns:a16="http://schemas.microsoft.com/office/drawing/2014/main" id="{C798E148-BFA6-6EF2-9543-ADF6CE2B8F40}"/>
              </a:ext>
            </a:extLst>
          </p:cNvPr>
          <p:cNvGrpSpPr/>
          <p:nvPr/>
        </p:nvGrpSpPr>
        <p:grpSpPr>
          <a:xfrm>
            <a:off x="292608" y="3487233"/>
            <a:ext cx="3082392" cy="232459"/>
            <a:chOff x="292608" y="3408468"/>
            <a:chExt cx="3082392" cy="232459"/>
          </a:xfrm>
        </p:grpSpPr>
        <p:cxnSp>
          <p:nvCxnSpPr>
            <p:cNvPr id="1110" name="Straight Connector 1109">
              <a:extLst>
                <a:ext uri="{FF2B5EF4-FFF2-40B4-BE49-F238E27FC236}">
                  <a16:creationId xmlns:a16="http://schemas.microsoft.com/office/drawing/2014/main" id="{E1E9F400-79E4-F605-CAC3-9C8DFB8A4E78}"/>
                </a:ext>
              </a:extLst>
            </p:cNvPr>
            <p:cNvCxnSpPr/>
            <p:nvPr/>
          </p:nvCxnSpPr>
          <p:spPr>
            <a:xfrm>
              <a:off x="292608" y="3640927"/>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1" name="Rectangle 1110">
              <a:extLst>
                <a:ext uri="{FF2B5EF4-FFF2-40B4-BE49-F238E27FC236}">
                  <a16:creationId xmlns:a16="http://schemas.microsoft.com/office/drawing/2014/main" id="{B72AFCF7-2C29-E7CB-8DB3-EF8C64B30C9D}"/>
                </a:ext>
              </a:extLst>
            </p:cNvPr>
            <p:cNvSpPr/>
            <p:nvPr/>
          </p:nvSpPr>
          <p:spPr>
            <a:xfrm>
              <a:off x="292608" y="3408468"/>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Portfolio performance since inception</a:t>
              </a:r>
              <a:endParaRPr lang="en-GB" sz="1000" b="1" dirty="0">
                <a:solidFill>
                  <a:schemeClr val="bg1"/>
                </a:solidFill>
                <a:latin typeface="Bierstadt" panose="020B0004020202020204" pitchFamily="34" charset="0"/>
              </a:endParaRPr>
            </a:p>
          </p:txBody>
        </p:sp>
      </p:grpSp>
      <p:sp>
        <p:nvSpPr>
          <p:cNvPr id="1116" name="Rectangle 1115">
            <a:extLst>
              <a:ext uri="{FF2B5EF4-FFF2-40B4-BE49-F238E27FC236}">
                <a16:creationId xmlns:a16="http://schemas.microsoft.com/office/drawing/2014/main" id="{B75CABC0-673B-2A1C-4D66-DBFEB420B5E4}"/>
              </a:ext>
            </a:extLst>
          </p:cNvPr>
          <p:cNvSpPr/>
          <p:nvPr/>
        </p:nvSpPr>
        <p:spPr>
          <a:xfrm>
            <a:off x="292608" y="6853356"/>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Monthly return in USD %</a:t>
            </a:r>
            <a:endParaRPr lang="en-GB" sz="1000" b="1" dirty="0">
              <a:solidFill>
                <a:schemeClr val="bg1"/>
              </a:solidFill>
              <a:latin typeface="Bierstadt" panose="020B0004020202020204" pitchFamily="34" charset="0"/>
            </a:endParaRPr>
          </a:p>
        </p:txBody>
      </p:sp>
      <p:sp>
        <p:nvSpPr>
          <p:cNvPr id="1043" name="TextBox 1042">
            <a:extLst>
              <a:ext uri="{FF2B5EF4-FFF2-40B4-BE49-F238E27FC236}">
                <a16:creationId xmlns:a16="http://schemas.microsoft.com/office/drawing/2014/main" id="{74D90AD3-A784-38C5-B3F4-6A5A0D8E85D1}"/>
              </a:ext>
            </a:extLst>
          </p:cNvPr>
          <p:cNvSpPr txBox="1"/>
          <p:nvPr/>
        </p:nvSpPr>
        <p:spPr>
          <a:xfrm>
            <a:off x="292608" y="9210085"/>
            <a:ext cx="6272784" cy="415498"/>
          </a:xfrm>
          <a:prstGeom prst="rect">
            <a:avLst/>
          </a:prstGeom>
          <a:noFill/>
        </p:spPr>
        <p:txBody>
          <a:bodyPr wrap="square" rtlCol="0">
            <a:spAutoFit/>
          </a:bodyPr>
          <a:lstStyle/>
          <a:p>
            <a:pPr marL="171450" indent="-171450">
              <a:buFont typeface="Arial" panose="020B0604020202020204" pitchFamily="34" charset="0"/>
              <a:buChar char="•"/>
            </a:pPr>
            <a:r>
              <a:rPr lang="en-ZA" sz="700" dirty="0">
                <a:solidFill>
                  <a:schemeClr val="bg1"/>
                </a:solidFill>
              </a:rPr>
              <a:t>Portfolio and benchmark returns are not for the complete month of September 2021. Starts at 6 September 2021 (inception). Benchmark YTD is since inception.</a:t>
            </a:r>
            <a:r>
              <a:rPr kumimoji="0" lang="en-US" sz="700" b="0" i="0" u="none" strike="noStrike" kern="1200" cap="none" spc="0" normalizeH="0" baseline="0" noProof="0" dirty="0">
                <a:ln>
                  <a:noFill/>
                </a:ln>
                <a:solidFill>
                  <a:schemeClr val="bg1"/>
                </a:solidFill>
                <a:effectLst/>
                <a:uLnTx/>
                <a:uFillTx/>
                <a:latin typeface="Calibri" panose="020F0502020204030204"/>
                <a:ea typeface="+mn-ea"/>
                <a:cs typeface="+mn-cs"/>
              </a:rPr>
              <a:t> </a:t>
            </a:r>
          </a:p>
          <a:p>
            <a:pPr marL="171450" indent="-171450">
              <a:buFont typeface="Arial" panose="020B0604020202020204" pitchFamily="34" charset="0"/>
              <a:buChar char="•"/>
            </a:pPr>
            <a:r>
              <a:rPr kumimoji="0" lang="en-US" sz="700" b="0" i="0" u="none" strike="noStrike" kern="1200" cap="none" spc="0" normalizeH="0" baseline="0" noProof="0" dirty="0">
                <a:ln>
                  <a:noFill/>
                </a:ln>
                <a:solidFill>
                  <a:schemeClr val="bg1"/>
                </a:solidFill>
                <a:effectLst/>
                <a:uLnTx/>
                <a:uFillTx/>
                <a:latin typeface="Calibri" panose="020F0502020204030204"/>
                <a:ea typeface="+mn-ea"/>
                <a:cs typeface="+mn-cs"/>
              </a:rPr>
              <a:t>All returns stated have been calculated based on net asset values, including reinvestment of dividends where applicable. Past performance is not a reliable indicator of future performance.</a:t>
            </a:r>
            <a:endParaRPr kumimoji="0" lang="en-ZA" sz="7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graphicFrame>
        <p:nvGraphicFramePr>
          <p:cNvPr id="1044" name="MONTHLY_RETURNS_TABLE">
            <a:extLst>
              <a:ext uri="{FF2B5EF4-FFF2-40B4-BE49-F238E27FC236}">
                <a16:creationId xmlns:a16="http://schemas.microsoft.com/office/drawing/2014/main" id="{1F6E4154-5923-4BB1-E4D7-B973F8027170}"/>
              </a:ext>
            </a:extLst>
          </p:cNvPr>
          <p:cNvGraphicFramePr>
            <a:graphicFrameLocks noGrp="1"/>
          </p:cNvGraphicFramePr>
          <p:nvPr>
            <p:extLst>
              <p:ext uri="{D42A27DB-BD31-4B8C-83A1-F6EECF244321}">
                <p14:modId xmlns:p14="http://schemas.microsoft.com/office/powerpoint/2010/main" val="3208698559"/>
              </p:ext>
            </p:extLst>
          </p:nvPr>
        </p:nvGraphicFramePr>
        <p:xfrm>
          <a:off x="435172" y="7159133"/>
          <a:ext cx="5987656" cy="2008511"/>
        </p:xfrm>
        <a:graphic>
          <a:graphicData uri="http://schemas.openxmlformats.org/drawingml/2006/table">
            <a:tbl>
              <a:tblPr firstRow="1" bandRow="1">
                <a:tableStyleId>{00A15C55-8517-42AA-B614-E9B94910E393}</a:tableStyleId>
              </a:tblPr>
              <a:tblGrid>
                <a:gridCol w="948120">
                  <a:extLst>
                    <a:ext uri="{9D8B030D-6E8A-4147-A177-3AD203B41FA5}">
                      <a16:colId xmlns:a16="http://schemas.microsoft.com/office/drawing/2014/main" val="896788362"/>
                    </a:ext>
                  </a:extLst>
                </a:gridCol>
                <a:gridCol w="420970">
                  <a:extLst>
                    <a:ext uri="{9D8B030D-6E8A-4147-A177-3AD203B41FA5}">
                      <a16:colId xmlns:a16="http://schemas.microsoft.com/office/drawing/2014/main" val="3261703524"/>
                    </a:ext>
                  </a:extLst>
                </a:gridCol>
                <a:gridCol w="382056">
                  <a:extLst>
                    <a:ext uri="{9D8B030D-6E8A-4147-A177-3AD203B41FA5}">
                      <a16:colId xmlns:a16="http://schemas.microsoft.com/office/drawing/2014/main" val="2988750767"/>
                    </a:ext>
                  </a:extLst>
                </a:gridCol>
                <a:gridCol w="404482">
                  <a:extLst>
                    <a:ext uri="{9D8B030D-6E8A-4147-A177-3AD203B41FA5}">
                      <a16:colId xmlns:a16="http://schemas.microsoft.com/office/drawing/2014/main" val="3491355810"/>
                    </a:ext>
                  </a:extLst>
                </a:gridCol>
                <a:gridCol w="361950">
                  <a:extLst>
                    <a:ext uri="{9D8B030D-6E8A-4147-A177-3AD203B41FA5}">
                      <a16:colId xmlns:a16="http://schemas.microsoft.com/office/drawing/2014/main" val="1887057036"/>
                    </a:ext>
                  </a:extLst>
                </a:gridCol>
                <a:gridCol w="352425">
                  <a:extLst>
                    <a:ext uri="{9D8B030D-6E8A-4147-A177-3AD203B41FA5}">
                      <a16:colId xmlns:a16="http://schemas.microsoft.com/office/drawing/2014/main" val="2724548086"/>
                    </a:ext>
                  </a:extLst>
                </a:gridCol>
                <a:gridCol w="412028">
                  <a:extLst>
                    <a:ext uri="{9D8B030D-6E8A-4147-A177-3AD203B41FA5}">
                      <a16:colId xmlns:a16="http://schemas.microsoft.com/office/drawing/2014/main" val="3163421287"/>
                    </a:ext>
                  </a:extLst>
                </a:gridCol>
                <a:gridCol w="364368">
                  <a:extLst>
                    <a:ext uri="{9D8B030D-6E8A-4147-A177-3AD203B41FA5}">
                      <a16:colId xmlns:a16="http://schemas.microsoft.com/office/drawing/2014/main" val="2398919590"/>
                    </a:ext>
                  </a:extLst>
                </a:gridCol>
                <a:gridCol w="382056">
                  <a:extLst>
                    <a:ext uri="{9D8B030D-6E8A-4147-A177-3AD203B41FA5}">
                      <a16:colId xmlns:a16="http://schemas.microsoft.com/office/drawing/2014/main" val="1052940757"/>
                    </a:ext>
                  </a:extLst>
                </a:gridCol>
                <a:gridCol w="340349">
                  <a:extLst>
                    <a:ext uri="{9D8B030D-6E8A-4147-A177-3AD203B41FA5}">
                      <a16:colId xmlns:a16="http://schemas.microsoft.com/office/drawing/2014/main" val="623188744"/>
                    </a:ext>
                  </a:extLst>
                </a:gridCol>
                <a:gridCol w="349518">
                  <a:extLst>
                    <a:ext uri="{9D8B030D-6E8A-4147-A177-3AD203B41FA5}">
                      <a16:colId xmlns:a16="http://schemas.microsoft.com/office/drawing/2014/main" val="2515961813"/>
                    </a:ext>
                  </a:extLst>
                </a:gridCol>
                <a:gridCol w="420970">
                  <a:extLst>
                    <a:ext uri="{9D8B030D-6E8A-4147-A177-3AD203B41FA5}">
                      <a16:colId xmlns:a16="http://schemas.microsoft.com/office/drawing/2014/main" val="1987366053"/>
                    </a:ext>
                  </a:extLst>
                </a:gridCol>
                <a:gridCol w="351421">
                  <a:extLst>
                    <a:ext uri="{9D8B030D-6E8A-4147-A177-3AD203B41FA5}">
                      <a16:colId xmlns:a16="http://schemas.microsoft.com/office/drawing/2014/main" val="3039303453"/>
                    </a:ext>
                  </a:extLst>
                </a:gridCol>
                <a:gridCol w="496943">
                  <a:extLst>
                    <a:ext uri="{9D8B030D-6E8A-4147-A177-3AD203B41FA5}">
                      <a16:colId xmlns:a16="http://schemas.microsoft.com/office/drawing/2014/main" val="867294964"/>
                    </a:ext>
                  </a:extLst>
                </a:gridCol>
              </a:tblGrid>
              <a:tr h="195558">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Year</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Jan</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Feb</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dirty="0">
                          <a:solidFill>
                            <a:schemeClr val="bg1"/>
                          </a:solidFill>
                          <a:latin typeface="Bierstadt" panose="020B0004020202020204" pitchFamily="34" charset="0"/>
                          <a:ea typeface="Yu Gothic Light" panose="020B0300000000000000" pitchFamily="34" charset="-128"/>
                          <a:cs typeface="Helvetica" panose="020B0604020202020204"/>
                        </a:rPr>
                        <a:t>Mar</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Apr</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May</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Jun</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Jul</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Aug</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Sep</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Oct</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Nov</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Dec</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FY/YTD</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541953838"/>
                  </a:ext>
                </a:extLst>
              </a:tr>
              <a:tr h="182520">
                <a:tc>
                  <a:txBody>
                    <a:bodyPr/>
                    <a:lstStyle/>
                    <a:p>
                      <a:pPr algn="ctr"/>
                      <a:r>
                        <a:rPr lang="en-US" sz="600" b="0">
                          <a:solidFill>
                            <a:schemeClr val="bg1"/>
                          </a:solidFill>
                          <a:latin typeface="Bierstadt" panose="020B0004020202020204" pitchFamily="34" charset="0"/>
                          <a:ea typeface="Yu Gothic Light" panose="020B0300000000000000" pitchFamily="34" charset="-128"/>
                          <a:cs typeface="Helvetica" panose="020B0604020202020204"/>
                        </a:rPr>
                        <a:t>2021</a:t>
                      </a:r>
                      <a:endParaRPr lang="en-ZA" sz="600" b="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6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0.2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7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5.33%</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2967875"/>
                  </a:ext>
                </a:extLst>
              </a:tr>
              <a:tr h="182520">
                <a:tc>
                  <a:txBody>
                    <a:bodyPr/>
                    <a:lstStyle/>
                    <a:p>
                      <a:pPr algn="ctr"/>
                      <a:r>
                        <a:rPr lang="en-US" sz="600" b="0" dirty="0">
                          <a:solidFill>
                            <a:schemeClr val="bg1"/>
                          </a:solidFill>
                          <a:latin typeface="Bierstadt" panose="020B0004020202020204" pitchFamily="34" charset="0"/>
                          <a:ea typeface="Yu Gothic Light" panose="020B0300000000000000" pitchFamily="34" charset="-128"/>
                          <a:cs typeface="Helvetica" panose="020B0604020202020204"/>
                        </a:rPr>
                        <a:t>Benchmark</a:t>
                      </a:r>
                      <a:endParaRPr lang="en-ZA" sz="600" b="0" dirty="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1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3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8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51%</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0248378"/>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2</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9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9.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6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6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9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8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2.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7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4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9.21%</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7631251"/>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0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0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4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1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0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3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9.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3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6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8.39%</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2746856"/>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3</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1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2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1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6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4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9.90%</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6573516"/>
                  </a:ext>
                </a:extLst>
              </a:tr>
              <a:tr h="181655">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5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3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3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5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7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6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9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2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5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8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22.27%</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2126616"/>
                  </a:ext>
                </a:extLst>
              </a:tr>
              <a:tr h="181655">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4</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9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9.5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2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4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8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7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2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8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7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7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1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33.11%</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9810567"/>
                  </a:ext>
                </a:extLst>
              </a:tr>
              <a:tr h="169483">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2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5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0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5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5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2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0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0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7.45%</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8003448"/>
                  </a:ext>
                </a:extLst>
              </a:tr>
              <a:tr h="169483">
                <a:tc>
                  <a:txBody>
                    <a:bodyPr/>
                    <a:lstStyle/>
                    <a:p>
                      <a:pPr algn="ctr"/>
                      <a:r>
                        <a:rPr lang="en-ZA" sz="600" b="0" dirty="0">
                          <a:solidFill>
                            <a:schemeClr val="bg1"/>
                          </a:solidFill>
                          <a:latin typeface="Bierstadt" panose="020B0004020202020204" pitchFamily="34" charset="0"/>
                          <a:ea typeface="Yu Gothic Light" panose="020B0300000000000000" pitchFamily="34" charset="-128"/>
                          <a:cs typeface="Helvetica" panose="020B0604020202020204"/>
                        </a:rPr>
                        <a:t>2025</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4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8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6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9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4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1.18%</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71%</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3.80%</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1" u="none" strike="noStrike" dirty="0">
                          <a:solidFill>
                            <a:schemeClr val="bg1"/>
                          </a:solidFill>
                          <a:effectLst/>
                          <a:latin typeface="Bierstadt" panose="020B0004020202020204" pitchFamily="34" charset="0"/>
                          <a:cs typeface="Helvetica" panose="020B0604020202020204"/>
                        </a:rPr>
                        <a:t>NA</a:t>
                      </a:r>
                      <a:endParaRPr lang="da-US" sz="600" b="0" i="1"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6.65%</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072681915"/>
                  </a:ext>
                </a:extLst>
              </a:tr>
              <a:tr h="169483">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1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3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6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5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6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1.06%</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2.68%</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3.60%</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1" u="none" strike="noStrike" dirty="0">
                          <a:solidFill>
                            <a:schemeClr val="bg1"/>
                          </a:solidFill>
                          <a:effectLst/>
                          <a:latin typeface="Bierstadt" panose="020B0004020202020204" pitchFamily="34" charset="0"/>
                          <a:cs typeface="Helvetica" panose="020B0604020202020204"/>
                        </a:rPr>
                        <a:t>NA</a:t>
                      </a:r>
                      <a:endParaRPr lang="da-US" sz="600" b="0" i="1"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8.56%</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943505122"/>
                  </a:ext>
                </a:extLst>
              </a:tr>
            </a:tbl>
          </a:graphicData>
        </a:graphic>
      </p:graphicFrame>
      <p:cxnSp>
        <p:nvCxnSpPr>
          <p:cNvPr id="1115" name="Straight Connector 1114">
            <a:extLst>
              <a:ext uri="{FF2B5EF4-FFF2-40B4-BE49-F238E27FC236}">
                <a16:creationId xmlns:a16="http://schemas.microsoft.com/office/drawing/2014/main" id="{115A132D-87C4-229E-D72B-7612E9001D6C}"/>
              </a:ext>
            </a:extLst>
          </p:cNvPr>
          <p:cNvCxnSpPr/>
          <p:nvPr/>
        </p:nvCxnSpPr>
        <p:spPr>
          <a:xfrm>
            <a:off x="292608" y="7085815"/>
            <a:ext cx="6272784"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1117" name="Group 1116">
            <a:extLst>
              <a:ext uri="{FF2B5EF4-FFF2-40B4-BE49-F238E27FC236}">
                <a16:creationId xmlns:a16="http://schemas.microsoft.com/office/drawing/2014/main" id="{1044B7A8-B9D0-329C-C0BD-AF0C9E0CC069}"/>
              </a:ext>
            </a:extLst>
          </p:cNvPr>
          <p:cNvGrpSpPr/>
          <p:nvPr/>
        </p:nvGrpSpPr>
        <p:grpSpPr>
          <a:xfrm>
            <a:off x="3483000" y="1024666"/>
            <a:ext cx="3082392" cy="232459"/>
            <a:chOff x="292608" y="1013780"/>
            <a:chExt cx="3082392" cy="232459"/>
          </a:xfrm>
        </p:grpSpPr>
        <p:cxnSp>
          <p:nvCxnSpPr>
            <p:cNvPr id="1118" name="Straight Connector 1117">
              <a:extLst>
                <a:ext uri="{FF2B5EF4-FFF2-40B4-BE49-F238E27FC236}">
                  <a16:creationId xmlns:a16="http://schemas.microsoft.com/office/drawing/2014/main" id="{7FFFBDED-BF3F-749A-FE21-9CADD728275E}"/>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9" name="Rectangle 1118">
              <a:extLst>
                <a:ext uri="{FF2B5EF4-FFF2-40B4-BE49-F238E27FC236}">
                  <a16:creationId xmlns:a16="http://schemas.microsoft.com/office/drawing/2014/main" id="{9F902DF6-F73C-67CF-1296-059991C712C5}"/>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Portfolio information</a:t>
              </a:r>
              <a:endParaRPr lang="en-GB" sz="1000" b="1" dirty="0">
                <a:solidFill>
                  <a:schemeClr val="bg1"/>
                </a:solidFill>
                <a:latin typeface="Bierstadt"/>
              </a:endParaRPr>
            </a:p>
          </p:txBody>
        </p:sp>
      </p:grpSp>
      <p:sp>
        <p:nvSpPr>
          <p:cNvPr id="1120" name="TextBox 1119">
            <a:extLst>
              <a:ext uri="{FF2B5EF4-FFF2-40B4-BE49-F238E27FC236}">
                <a16:creationId xmlns:a16="http://schemas.microsoft.com/office/drawing/2014/main" id="{BD05C90F-3044-8DC2-CC91-3E39100F309F}"/>
              </a:ext>
            </a:extLst>
          </p:cNvPr>
          <p:cNvSpPr txBox="1"/>
          <p:nvPr/>
        </p:nvSpPr>
        <p:spPr>
          <a:xfrm>
            <a:off x="3527229" y="1480484"/>
            <a:ext cx="1542694"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Risk profi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chemeClr val="bg1"/>
              </a:solidFill>
              <a:effectLst/>
              <a:uLnTx/>
              <a:uFillTx/>
              <a:latin typeface="Bierstadt" panose="020B0004020202020204" pitchFamily="34" charset="0"/>
            </a:endParaRPr>
          </a:p>
        </p:txBody>
      </p:sp>
      <p:graphicFrame>
        <p:nvGraphicFramePr>
          <p:cNvPr id="1121" name="Table 16">
            <a:extLst>
              <a:ext uri="{FF2B5EF4-FFF2-40B4-BE49-F238E27FC236}">
                <a16:creationId xmlns:a16="http://schemas.microsoft.com/office/drawing/2014/main" id="{A72A4B91-670B-1D9D-AB8F-5B6D9C904020}"/>
              </a:ext>
            </a:extLst>
          </p:cNvPr>
          <p:cNvGraphicFramePr>
            <a:graphicFrameLocks noGrp="1"/>
          </p:cNvGraphicFramePr>
          <p:nvPr>
            <p:extLst>
              <p:ext uri="{D42A27DB-BD31-4B8C-83A1-F6EECF244321}">
                <p14:modId xmlns:p14="http://schemas.microsoft.com/office/powerpoint/2010/main" val="162677619"/>
              </p:ext>
            </p:extLst>
          </p:nvPr>
        </p:nvGraphicFramePr>
        <p:xfrm>
          <a:off x="4449425" y="1496815"/>
          <a:ext cx="1828800" cy="243840"/>
        </p:xfrm>
        <a:graphic>
          <a:graphicData uri="http://schemas.openxmlformats.org/drawingml/2006/table">
            <a:tbl>
              <a:tblPr firstRow="1" bandRow="1">
                <a:tableStyleId>{912C8C85-51F0-491E-9774-3900AFEF0FD7}</a:tableStyleId>
              </a:tblPr>
              <a:tblGrid>
                <a:gridCol w="365760">
                  <a:extLst>
                    <a:ext uri="{9D8B030D-6E8A-4147-A177-3AD203B41FA5}">
                      <a16:colId xmlns:a16="http://schemas.microsoft.com/office/drawing/2014/main" val="3324011243"/>
                    </a:ext>
                  </a:extLst>
                </a:gridCol>
                <a:gridCol w="365760">
                  <a:extLst>
                    <a:ext uri="{9D8B030D-6E8A-4147-A177-3AD203B41FA5}">
                      <a16:colId xmlns:a16="http://schemas.microsoft.com/office/drawing/2014/main" val="3190197823"/>
                    </a:ext>
                  </a:extLst>
                </a:gridCol>
                <a:gridCol w="365760">
                  <a:extLst>
                    <a:ext uri="{9D8B030D-6E8A-4147-A177-3AD203B41FA5}">
                      <a16:colId xmlns:a16="http://schemas.microsoft.com/office/drawing/2014/main" val="325901991"/>
                    </a:ext>
                  </a:extLst>
                </a:gridCol>
                <a:gridCol w="365760">
                  <a:extLst>
                    <a:ext uri="{9D8B030D-6E8A-4147-A177-3AD203B41FA5}">
                      <a16:colId xmlns:a16="http://schemas.microsoft.com/office/drawing/2014/main" val="398635762"/>
                    </a:ext>
                  </a:extLst>
                </a:gridCol>
                <a:gridCol w="365760">
                  <a:extLst>
                    <a:ext uri="{9D8B030D-6E8A-4147-A177-3AD203B41FA5}">
                      <a16:colId xmlns:a16="http://schemas.microsoft.com/office/drawing/2014/main" val="2426451187"/>
                    </a:ext>
                  </a:extLst>
                </a:gridCol>
              </a:tblGrid>
              <a:tr h="182880">
                <a:tc>
                  <a:txBody>
                    <a:bodyPr/>
                    <a:lstStyle/>
                    <a:p>
                      <a:pPr algn="ctr"/>
                      <a:r>
                        <a:rPr lang="en-US" sz="1000" b="0">
                          <a:solidFill>
                            <a:schemeClr val="bg1"/>
                          </a:solidFill>
                          <a:latin typeface="Helvetica" panose="020B0604020202020204" pitchFamily="34" charset="0"/>
                          <a:cs typeface="Helvetica" panose="020B0604020202020204" pitchFamily="34" charset="0"/>
                        </a:rPr>
                        <a:t>1</a:t>
                      </a:r>
                      <a:endParaRPr lang="en-ZA" sz="1000" b="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0">
                          <a:solidFill>
                            <a:schemeClr val="bg1"/>
                          </a:solidFill>
                          <a:latin typeface="Helvetica" panose="020B0604020202020204" pitchFamily="34" charset="0"/>
                          <a:cs typeface="Helvetica" panose="020B0604020202020204" pitchFamily="34" charset="0"/>
                        </a:rPr>
                        <a:t>2</a:t>
                      </a:r>
                      <a:endParaRPr lang="en-ZA" sz="1000" b="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0" dirty="0">
                          <a:solidFill>
                            <a:schemeClr val="bg1"/>
                          </a:solidFill>
                          <a:latin typeface="Helvetica" panose="020B0604020202020204" pitchFamily="34" charset="0"/>
                          <a:cs typeface="Helvetica" panose="020B0604020202020204" pitchFamily="34" charset="0"/>
                        </a:rPr>
                        <a:t>3</a:t>
                      </a:r>
                      <a:endParaRPr lang="en-ZA" sz="1000" b="0" dirty="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1" dirty="0">
                          <a:solidFill>
                            <a:schemeClr val="bg1"/>
                          </a:solidFill>
                          <a:latin typeface="Helvetica" panose="020B0604020202020204" pitchFamily="34" charset="0"/>
                          <a:cs typeface="Helvetica" panose="020B0604020202020204" pitchFamily="34" charset="0"/>
                        </a:rPr>
                        <a:t>4</a:t>
                      </a:r>
                      <a:endParaRPr lang="en-ZA" sz="1000" b="1" dirty="0">
                        <a:solidFill>
                          <a:schemeClr val="bg1"/>
                        </a:solidFill>
                        <a:latin typeface="Helvetica" panose="020B0604020202020204" pitchFamily="34" charset="0"/>
                        <a:cs typeface="Helvetica" panose="020B0604020202020204" pitchFamily="34" charset="0"/>
                      </a:endParaRPr>
                    </a:p>
                  </a:txBody>
                  <a:tcPr/>
                </a:tc>
                <a:tc>
                  <a:txBody>
                    <a:bodyPr/>
                    <a:lstStyle/>
                    <a:p>
                      <a:pPr algn="ctr"/>
                      <a:r>
                        <a:rPr lang="en-US" sz="1000" b="0" dirty="0">
                          <a:solidFill>
                            <a:schemeClr val="bg1"/>
                          </a:solidFill>
                          <a:latin typeface="Helvetica" panose="020B0604020202020204" pitchFamily="34" charset="0"/>
                          <a:cs typeface="Helvetica" panose="020B0604020202020204" pitchFamily="34" charset="0"/>
                        </a:rPr>
                        <a:t>5</a:t>
                      </a:r>
                      <a:endParaRPr lang="en-ZA" sz="1000" b="0" dirty="0">
                        <a:solidFill>
                          <a:schemeClr val="bg1"/>
                        </a:solidFill>
                        <a:latin typeface="Helvetica" panose="020B0604020202020204" pitchFamily="34" charset="0"/>
                        <a:cs typeface="Helvetica" panose="020B0604020202020204" pitchFamily="34" charset="0"/>
                      </a:endParaRPr>
                    </a:p>
                  </a:txBody>
                  <a:tcPr>
                    <a:noFill/>
                  </a:tcPr>
                </a:tc>
                <a:extLst>
                  <a:ext uri="{0D108BD9-81ED-4DB2-BD59-A6C34878D82A}">
                    <a16:rowId xmlns:a16="http://schemas.microsoft.com/office/drawing/2014/main" val="2590197038"/>
                  </a:ext>
                </a:extLst>
              </a:tr>
            </a:tbl>
          </a:graphicData>
        </a:graphic>
      </p:graphicFrame>
      <p:sp>
        <p:nvSpPr>
          <p:cNvPr id="1128" name="TextBox 1127">
            <a:extLst>
              <a:ext uri="{FF2B5EF4-FFF2-40B4-BE49-F238E27FC236}">
                <a16:creationId xmlns:a16="http://schemas.microsoft.com/office/drawing/2014/main" id="{8CF1E5B6-87B7-F8D8-4569-2578C19CE7E7}"/>
              </a:ext>
            </a:extLst>
          </p:cNvPr>
          <p:cNvSpPr txBox="1"/>
          <p:nvPr/>
        </p:nvSpPr>
        <p:spPr>
          <a:xfrm>
            <a:off x="4377986" y="1273196"/>
            <a:ext cx="62719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Low</a:t>
            </a:r>
            <a:endParaRPr kumimoji="0" lang="en-ZA"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9" name="TextBox 1128">
            <a:extLst>
              <a:ext uri="{FF2B5EF4-FFF2-40B4-BE49-F238E27FC236}">
                <a16:creationId xmlns:a16="http://schemas.microsoft.com/office/drawing/2014/main" id="{23652EF1-9108-5747-87F3-18A8404E720C}"/>
              </a:ext>
            </a:extLst>
          </p:cNvPr>
          <p:cNvSpPr txBox="1"/>
          <p:nvPr/>
        </p:nvSpPr>
        <p:spPr>
          <a:xfrm>
            <a:off x="5876128" y="1263104"/>
            <a:ext cx="658785"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High</a:t>
            </a:r>
            <a:endParaRPr kumimoji="0" lang="en-ZA" sz="900" i="1"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0" name="TextBox 1129">
            <a:extLst>
              <a:ext uri="{FF2B5EF4-FFF2-40B4-BE49-F238E27FC236}">
                <a16:creationId xmlns:a16="http://schemas.microsoft.com/office/drawing/2014/main" id="{41808883-77AC-2219-F048-85CA6077486F}"/>
              </a:ext>
            </a:extLst>
          </p:cNvPr>
          <p:cNvSpPr txBox="1"/>
          <p:nvPr/>
        </p:nvSpPr>
        <p:spPr>
          <a:xfrm>
            <a:off x="5005182" y="1274531"/>
            <a:ext cx="914400"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Moderate</a:t>
            </a:r>
            <a:endParaRPr kumimoji="0" lang="en-ZA"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grpSp>
        <p:nvGrpSpPr>
          <p:cNvPr id="1134" name="Group 1133">
            <a:extLst>
              <a:ext uri="{FF2B5EF4-FFF2-40B4-BE49-F238E27FC236}">
                <a16:creationId xmlns:a16="http://schemas.microsoft.com/office/drawing/2014/main" id="{F6E6E961-5D71-26C8-E226-D3661BE6E15B}"/>
              </a:ext>
            </a:extLst>
          </p:cNvPr>
          <p:cNvGrpSpPr/>
          <p:nvPr/>
        </p:nvGrpSpPr>
        <p:grpSpPr>
          <a:xfrm>
            <a:off x="3531992" y="1793130"/>
            <a:ext cx="2984409" cy="1339191"/>
            <a:chOff x="3529619" y="2021004"/>
            <a:chExt cx="2984409" cy="1339191"/>
          </a:xfrm>
        </p:grpSpPr>
        <p:sp>
          <p:nvSpPr>
            <p:cNvPr id="1122" name="TextBox 1121">
              <a:extLst>
                <a:ext uri="{FF2B5EF4-FFF2-40B4-BE49-F238E27FC236}">
                  <a16:creationId xmlns:a16="http://schemas.microsoft.com/office/drawing/2014/main" id="{8585F231-2C62-B0AE-B7B3-1BAB42484B03}"/>
                </a:ext>
              </a:extLst>
            </p:cNvPr>
            <p:cNvSpPr txBox="1"/>
            <p:nvPr/>
          </p:nvSpPr>
          <p:spPr>
            <a:xfrm>
              <a:off x="3531303" y="2322683"/>
              <a:ext cx="1068920"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tab pos="463550" algn="l"/>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Inception dat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Benchmark</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3" name="TextBox 1122">
              <a:extLst>
                <a:ext uri="{FF2B5EF4-FFF2-40B4-BE49-F238E27FC236}">
                  <a16:creationId xmlns:a16="http://schemas.microsoft.com/office/drawing/2014/main" id="{93390F13-D166-4162-3F1E-05D458B33940}"/>
                </a:ext>
              </a:extLst>
            </p:cNvPr>
            <p:cNvSpPr txBox="1"/>
            <p:nvPr/>
          </p:nvSpPr>
          <p:spPr>
            <a:xfrm>
              <a:off x="5018209" y="2336574"/>
              <a:ext cx="1068920"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a:solidFill>
                    <a:schemeClr val="bg1"/>
                  </a:solidFill>
                  <a:latin typeface="Bierstadt" panose="020B0004020202020204" pitchFamily="34" charset="0"/>
                  <a:cs typeface="Helvetica" panose="020B0604020202020204" pitchFamily="34" charset="0"/>
                </a:rPr>
                <a:t>6</a:t>
              </a: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 Sep 2021</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endParaRPr>
            </a:p>
          </p:txBody>
        </p:sp>
        <p:sp>
          <p:nvSpPr>
            <p:cNvPr id="1124" name="BENCH_NAME">
              <a:extLst>
                <a:ext uri="{FF2B5EF4-FFF2-40B4-BE49-F238E27FC236}">
                  <a16:creationId xmlns:a16="http://schemas.microsoft.com/office/drawing/2014/main" id="{EE16854C-077E-8B7B-0CA5-E7BAA77A83E3}"/>
                </a:ext>
              </a:extLst>
            </p:cNvPr>
            <p:cNvSpPr txBox="1"/>
            <p:nvPr/>
          </p:nvSpPr>
          <p:spPr>
            <a:xfrm>
              <a:off x="5035140" y="2610906"/>
              <a:ext cx="876822"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ACWI</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endParaRPr>
            </a:p>
          </p:txBody>
        </p:sp>
        <p:sp>
          <p:nvSpPr>
            <p:cNvPr id="1125" name="TextBox 1124">
              <a:extLst>
                <a:ext uri="{FF2B5EF4-FFF2-40B4-BE49-F238E27FC236}">
                  <a16:creationId xmlns:a16="http://schemas.microsoft.com/office/drawing/2014/main" id="{56C16C64-D8C9-F3AD-38F2-00DFE3100BB3}"/>
                </a:ext>
              </a:extLst>
            </p:cNvPr>
            <p:cNvSpPr txBox="1"/>
            <p:nvPr/>
          </p:nvSpPr>
          <p:spPr>
            <a:xfrm>
              <a:off x="3533519" y="2845990"/>
              <a:ext cx="1361594"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Portfolio denomination</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6" name="TextBox 1125">
              <a:extLst>
                <a:ext uri="{FF2B5EF4-FFF2-40B4-BE49-F238E27FC236}">
                  <a16:creationId xmlns:a16="http://schemas.microsoft.com/office/drawing/2014/main" id="{70F2B244-9C00-F88B-7655-C7F1E159FA21}"/>
                </a:ext>
              </a:extLst>
            </p:cNvPr>
            <p:cNvSpPr txBox="1"/>
            <p:nvPr/>
          </p:nvSpPr>
          <p:spPr>
            <a:xfrm>
              <a:off x="5218146" y="2859128"/>
              <a:ext cx="473232"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USD </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7" name="TextBox 1126">
              <a:extLst>
                <a:ext uri="{FF2B5EF4-FFF2-40B4-BE49-F238E27FC236}">
                  <a16:creationId xmlns:a16="http://schemas.microsoft.com/office/drawing/2014/main" id="{196B4DFA-4EC6-D389-607B-00BFE9D71E6C}"/>
                </a:ext>
              </a:extLst>
            </p:cNvPr>
            <p:cNvSpPr txBox="1"/>
            <p:nvPr/>
          </p:nvSpPr>
          <p:spPr>
            <a:xfrm>
              <a:off x="3529619" y="2027063"/>
              <a:ext cx="1206965"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Portfolio structure</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1" name="TextBox 1130">
              <a:extLst>
                <a:ext uri="{FF2B5EF4-FFF2-40B4-BE49-F238E27FC236}">
                  <a16:creationId xmlns:a16="http://schemas.microsoft.com/office/drawing/2014/main" id="{3111AED9-6429-2608-940E-46E70B879D65}"/>
                </a:ext>
              </a:extLst>
            </p:cNvPr>
            <p:cNvSpPr txBox="1"/>
            <p:nvPr/>
          </p:nvSpPr>
          <p:spPr>
            <a:xfrm>
              <a:off x="4643301" y="2021004"/>
              <a:ext cx="187072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Discretionary/Direct ownership</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2" name="TextBox 1131">
              <a:extLst>
                <a:ext uri="{FF2B5EF4-FFF2-40B4-BE49-F238E27FC236}">
                  <a16:creationId xmlns:a16="http://schemas.microsoft.com/office/drawing/2014/main" id="{04BBF164-6973-A07B-B1B2-CED2F4CC5011}"/>
                </a:ext>
              </a:extLst>
            </p:cNvPr>
            <p:cNvSpPr txBox="1"/>
            <p:nvPr/>
          </p:nvSpPr>
          <p:spPr>
            <a:xfrm>
              <a:off x="3533656" y="3129363"/>
              <a:ext cx="1162314" cy="230832"/>
            </a:xfrm>
            <a:prstGeom prst="rect">
              <a:avLst/>
            </a:prstGeom>
            <a:noFill/>
          </p:spPr>
          <p:txBody>
            <a:bodyPr wrap="square" rtlCol="0">
              <a:spAutoFit/>
            </a:bodyPr>
            <a:lstStyle/>
            <a:p>
              <a:r>
                <a:rPr lang="en-US" sz="900">
                  <a:solidFill>
                    <a:schemeClr val="bg1"/>
                  </a:solidFill>
                  <a:latin typeface="Bierstadt" panose="020B0004020202020204" pitchFamily="34" charset="0"/>
                  <a:cs typeface="Helvetica" panose="020B0604020202020204" pitchFamily="34" charset="0"/>
                </a:rPr>
                <a:t>Management fee</a:t>
              </a:r>
              <a:endParaRPr lang="en-ZA" sz="900">
                <a:solidFill>
                  <a:schemeClr val="bg1"/>
                </a:solidFill>
                <a:latin typeface="Bierstadt" panose="020B0004020202020204" pitchFamily="34" charset="0"/>
                <a:cs typeface="Helvetica" panose="020B0604020202020204" pitchFamily="34" charset="0"/>
              </a:endParaRPr>
            </a:p>
          </p:txBody>
        </p:sp>
        <p:sp>
          <p:nvSpPr>
            <p:cNvPr id="1133" name="TextBox 1132">
              <a:extLst>
                <a:ext uri="{FF2B5EF4-FFF2-40B4-BE49-F238E27FC236}">
                  <a16:creationId xmlns:a16="http://schemas.microsoft.com/office/drawing/2014/main" id="{A74CE2D0-34DD-CD08-9788-548F5D2157C0}"/>
                </a:ext>
              </a:extLst>
            </p:cNvPr>
            <p:cNvSpPr txBox="1"/>
            <p:nvPr/>
          </p:nvSpPr>
          <p:spPr>
            <a:xfrm>
              <a:off x="4877544" y="3123995"/>
              <a:ext cx="1318471" cy="230832"/>
            </a:xfrm>
            <a:prstGeom prst="rect">
              <a:avLst/>
            </a:prstGeom>
            <a:noFill/>
          </p:spPr>
          <p:txBody>
            <a:bodyPr wrap="square" lIns="91440" tIns="45720" rIns="91440" bIns="45720" rtlCol="0" anchor="t">
              <a:spAutoFit/>
            </a:bodyPr>
            <a:lstStyle/>
            <a:p>
              <a:r>
                <a:rPr lang="en-ZA" sz="900" dirty="0">
                  <a:solidFill>
                    <a:schemeClr val="bg1"/>
                  </a:solidFill>
                  <a:latin typeface="Bierstadt" panose="020B0004020202020204" pitchFamily="34" charset="0"/>
                  <a:cs typeface="Helvetica"/>
                </a:rPr>
                <a:t>1% p.a. incl. VAT</a:t>
              </a:r>
            </a:p>
          </p:txBody>
        </p:sp>
      </p:grpSp>
      <p:grpSp>
        <p:nvGrpSpPr>
          <p:cNvPr id="3" name="Group 2">
            <a:extLst>
              <a:ext uri="{FF2B5EF4-FFF2-40B4-BE49-F238E27FC236}">
                <a16:creationId xmlns:a16="http://schemas.microsoft.com/office/drawing/2014/main" id="{D614AE55-CE52-F6FE-3408-DD2429B55CC5}"/>
              </a:ext>
            </a:extLst>
          </p:cNvPr>
          <p:cNvGrpSpPr/>
          <p:nvPr/>
        </p:nvGrpSpPr>
        <p:grpSpPr>
          <a:xfrm>
            <a:off x="3483000" y="5109925"/>
            <a:ext cx="3082392" cy="232459"/>
            <a:chOff x="3483000" y="5134309"/>
            <a:chExt cx="3082392" cy="232459"/>
          </a:xfrm>
        </p:grpSpPr>
        <p:cxnSp>
          <p:nvCxnSpPr>
            <p:cNvPr id="1136" name="Straight Connector 1135">
              <a:extLst>
                <a:ext uri="{FF2B5EF4-FFF2-40B4-BE49-F238E27FC236}">
                  <a16:creationId xmlns:a16="http://schemas.microsoft.com/office/drawing/2014/main" id="{A9061FFE-B890-DF0E-40BB-8D02D5A96E57}"/>
                </a:ext>
              </a:extLst>
            </p:cNvPr>
            <p:cNvCxnSpPr/>
            <p:nvPr/>
          </p:nvCxnSpPr>
          <p:spPr>
            <a:xfrm>
              <a:off x="3483000" y="5366768"/>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37" name="Rectangle 1136">
              <a:extLst>
                <a:ext uri="{FF2B5EF4-FFF2-40B4-BE49-F238E27FC236}">
                  <a16:creationId xmlns:a16="http://schemas.microsoft.com/office/drawing/2014/main" id="{1741FC84-33AD-5D98-8545-516330A7EF3C}"/>
                </a:ext>
              </a:extLst>
            </p:cNvPr>
            <p:cNvSpPr/>
            <p:nvPr/>
          </p:nvSpPr>
          <p:spPr>
            <a:xfrm>
              <a:off x="3483000" y="5134309"/>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Portfolio volatility</a:t>
              </a:r>
              <a:endParaRPr lang="en-GB" sz="1000" b="1" dirty="0">
                <a:solidFill>
                  <a:schemeClr val="bg1"/>
                </a:solidFill>
                <a:latin typeface="Bierstadt"/>
              </a:endParaRPr>
            </a:p>
          </p:txBody>
        </p:sp>
      </p:grpSp>
      <p:graphicFrame>
        <p:nvGraphicFramePr>
          <p:cNvPr id="1148" name="TOP_HOLDINGS_TABLE">
            <a:extLst>
              <a:ext uri="{FF2B5EF4-FFF2-40B4-BE49-F238E27FC236}">
                <a16:creationId xmlns:a16="http://schemas.microsoft.com/office/drawing/2014/main" id="{5892CF8A-F628-EC82-4DEE-32CF5B7A9034}"/>
              </a:ext>
            </a:extLst>
          </p:cNvPr>
          <p:cNvGraphicFramePr>
            <a:graphicFrameLocks noGrp="1"/>
          </p:cNvGraphicFramePr>
          <p:nvPr>
            <p:extLst>
              <p:ext uri="{D42A27DB-BD31-4B8C-83A1-F6EECF244321}">
                <p14:modId xmlns:p14="http://schemas.microsoft.com/office/powerpoint/2010/main" val="4261827884"/>
              </p:ext>
            </p:extLst>
          </p:nvPr>
        </p:nvGraphicFramePr>
        <p:xfrm>
          <a:off x="3561468" y="3482530"/>
          <a:ext cx="2925456" cy="1596144"/>
        </p:xfrm>
        <a:graphic>
          <a:graphicData uri="http://schemas.openxmlformats.org/drawingml/2006/table">
            <a:tbl>
              <a:tblPr firstRow="1" bandRow="1">
                <a:tableStyleId>{C083E6E3-FA7D-4D7B-A595-EF9225AFEA82}</a:tableStyleId>
              </a:tblPr>
              <a:tblGrid>
                <a:gridCol w="2218768">
                  <a:extLst>
                    <a:ext uri="{9D8B030D-6E8A-4147-A177-3AD203B41FA5}">
                      <a16:colId xmlns:a16="http://schemas.microsoft.com/office/drawing/2014/main" val="878762420"/>
                    </a:ext>
                  </a:extLst>
                </a:gridCol>
                <a:gridCol w="706688">
                  <a:extLst>
                    <a:ext uri="{9D8B030D-6E8A-4147-A177-3AD203B41FA5}">
                      <a16:colId xmlns:a16="http://schemas.microsoft.com/office/drawing/2014/main" val="646333369"/>
                    </a:ext>
                  </a:extLst>
                </a:gridCol>
              </a:tblGrid>
              <a:tr h="266024">
                <a:tc>
                  <a:txBody>
                    <a:bodyPr/>
                    <a:lstStyle/>
                    <a:p>
                      <a:r>
                        <a:rPr lang="en-GB" sz="900" dirty="0">
                          <a:solidFill>
                            <a:schemeClr val="bg1"/>
                          </a:solidFill>
                          <a:latin typeface="Bierstadt" panose="020B0004020202020204" pitchFamily="34" charset="0"/>
                        </a:rPr>
                        <a:t>Name</a:t>
                      </a:r>
                    </a:p>
                  </a:txBody>
                  <a:tcPr marL="36000" marR="36000"/>
                </a:tc>
                <a:tc>
                  <a:txBody>
                    <a:bodyPr/>
                    <a:lstStyle/>
                    <a:p>
                      <a:pPr algn="ctr"/>
                      <a:r>
                        <a:rPr lang="en-GB" sz="900" dirty="0">
                          <a:solidFill>
                            <a:schemeClr val="bg1"/>
                          </a:solidFill>
                          <a:latin typeface="Bierstadt" panose="020B0004020202020204" pitchFamily="34" charset="0"/>
                        </a:rPr>
                        <a:t>% of NAV</a:t>
                      </a:r>
                    </a:p>
                  </a:txBody>
                  <a:tcPr/>
                </a:tc>
                <a:extLst>
                  <a:ext uri="{0D108BD9-81ED-4DB2-BD59-A6C34878D82A}">
                    <a16:rowId xmlns:a16="http://schemas.microsoft.com/office/drawing/2014/main" val="2235101578"/>
                  </a:ext>
                </a:extLst>
              </a:tr>
              <a:tr h="266024">
                <a:tc>
                  <a:txBody>
                    <a:bodyPr/>
                    <a:lstStyle/>
                    <a:p>
                      <a:r>
                        <a:rPr lang="en-GB" sz="900" dirty="0">
                          <a:solidFill>
                            <a:schemeClr val="bg1"/>
                          </a:solidFill>
                          <a:latin typeface="Bierstadt" panose="020B0004020202020204" pitchFamily="34" charset="0"/>
                        </a:rPr>
                        <a:t>TSMC - ADR</a:t>
                      </a:r>
                    </a:p>
                  </a:txBody>
                  <a:tcPr marL="36000" marR="36000" anchor="ctr"/>
                </a:tc>
                <a:tc>
                  <a:txBody>
                    <a:bodyPr/>
                    <a:lstStyle/>
                    <a:p>
                      <a:pPr algn="ctr"/>
                      <a:r>
                        <a:rPr lang="en-GB" sz="900" dirty="0">
                          <a:solidFill>
                            <a:schemeClr val="bg1"/>
                          </a:solidFill>
                          <a:latin typeface="Bierstadt" panose="020B0004020202020204" pitchFamily="34" charset="0"/>
                        </a:rPr>
                        <a:t>8.60%</a:t>
                      </a:r>
                    </a:p>
                  </a:txBody>
                  <a:tcPr anchor="ctr"/>
                </a:tc>
                <a:extLst>
                  <a:ext uri="{0D108BD9-81ED-4DB2-BD59-A6C34878D82A}">
                    <a16:rowId xmlns:a16="http://schemas.microsoft.com/office/drawing/2014/main" val="1455314511"/>
                  </a:ext>
                </a:extLst>
              </a:tr>
              <a:tr h="266024">
                <a:tc>
                  <a:txBody>
                    <a:bodyPr/>
                    <a:lstStyle/>
                    <a:p>
                      <a:r>
                        <a:rPr lang="en-GB" sz="900" dirty="0">
                          <a:solidFill>
                            <a:schemeClr val="bg1"/>
                          </a:solidFill>
                          <a:latin typeface="Bierstadt" panose="020B0004020202020204" pitchFamily="34" charset="0"/>
                        </a:rPr>
                        <a:t>NVIDIA Corp.</a:t>
                      </a:r>
                    </a:p>
                  </a:txBody>
                  <a:tcPr marL="36000" marR="36000" anchor="ctr"/>
                </a:tc>
                <a:tc>
                  <a:txBody>
                    <a:bodyPr/>
                    <a:lstStyle/>
                    <a:p>
                      <a:pPr algn="ctr"/>
                      <a:r>
                        <a:rPr lang="en-GB" sz="900" dirty="0">
                          <a:solidFill>
                            <a:schemeClr val="bg1"/>
                          </a:solidFill>
                          <a:latin typeface="Bierstadt" panose="020B0004020202020204" pitchFamily="34" charset="0"/>
                        </a:rPr>
                        <a:t>8.16%</a:t>
                      </a:r>
                    </a:p>
                  </a:txBody>
                  <a:tcPr anchor="ctr"/>
                </a:tc>
                <a:extLst>
                  <a:ext uri="{0D108BD9-81ED-4DB2-BD59-A6C34878D82A}">
                    <a16:rowId xmlns:a16="http://schemas.microsoft.com/office/drawing/2014/main" val="3743326145"/>
                  </a:ext>
                </a:extLst>
              </a:tr>
              <a:tr h="266024">
                <a:tc>
                  <a:txBody>
                    <a:bodyPr/>
                    <a:lstStyle/>
                    <a:p>
                      <a:r>
                        <a:rPr lang="en-GB" sz="900" dirty="0">
                          <a:solidFill>
                            <a:schemeClr val="bg1"/>
                          </a:solidFill>
                          <a:latin typeface="Bierstadt" panose="020B0004020202020204" pitchFamily="34" charset="0"/>
                        </a:rPr>
                        <a:t>First Quantum Minerals Ltd</a:t>
                      </a:r>
                    </a:p>
                  </a:txBody>
                  <a:tcPr marL="36000" marR="36000" anchor="ctr"/>
                </a:tc>
                <a:tc>
                  <a:txBody>
                    <a:bodyPr/>
                    <a:lstStyle/>
                    <a:p>
                      <a:pPr algn="ctr"/>
                      <a:r>
                        <a:rPr lang="en-GB" sz="900" dirty="0">
                          <a:solidFill>
                            <a:schemeClr val="bg1"/>
                          </a:solidFill>
                          <a:latin typeface="Bierstadt" panose="020B0004020202020204" pitchFamily="34" charset="0"/>
                        </a:rPr>
                        <a:t>7.94%</a:t>
                      </a:r>
                    </a:p>
                  </a:txBody>
                  <a:tcPr anchor="ctr"/>
                </a:tc>
                <a:extLst>
                  <a:ext uri="{0D108BD9-81ED-4DB2-BD59-A6C34878D82A}">
                    <a16:rowId xmlns:a16="http://schemas.microsoft.com/office/drawing/2014/main" val="34337268"/>
                  </a:ext>
                </a:extLst>
              </a:tr>
              <a:tr h="266024">
                <a:tc>
                  <a:txBody>
                    <a:bodyPr/>
                    <a:lstStyle/>
                    <a:p>
                      <a:r>
                        <a:rPr lang="en-GB" sz="900" dirty="0">
                          <a:solidFill>
                            <a:schemeClr val="bg1"/>
                          </a:solidFill>
                          <a:latin typeface="Bierstadt" panose="020B0004020202020204" pitchFamily="34" charset="0"/>
                        </a:rPr>
                        <a:t>JPMorgan Chase &amp; Co.</a:t>
                      </a:r>
                    </a:p>
                  </a:txBody>
                  <a:tcPr marL="36000" marR="36000" anchor="ctr"/>
                </a:tc>
                <a:tc>
                  <a:txBody>
                    <a:bodyPr/>
                    <a:lstStyle/>
                    <a:p>
                      <a:pPr algn="ctr"/>
                      <a:r>
                        <a:rPr lang="en-GB" sz="900" dirty="0">
                          <a:solidFill>
                            <a:schemeClr val="bg1"/>
                          </a:solidFill>
                          <a:latin typeface="Bierstadt" panose="020B0004020202020204" pitchFamily="34" charset="0"/>
                        </a:rPr>
                        <a:t>7.20%</a:t>
                      </a:r>
                    </a:p>
                  </a:txBody>
                  <a:tcPr anchor="ctr"/>
                </a:tc>
                <a:extLst>
                  <a:ext uri="{0D108BD9-81ED-4DB2-BD59-A6C34878D82A}">
                    <a16:rowId xmlns:a16="http://schemas.microsoft.com/office/drawing/2014/main" val="3116781964"/>
                  </a:ext>
                </a:extLst>
              </a:tr>
              <a:tr h="266024">
                <a:tc>
                  <a:txBody>
                    <a:bodyPr/>
                    <a:lstStyle/>
                    <a:p>
                      <a:r>
                        <a:rPr lang="en-GB" sz="900" dirty="0">
                          <a:solidFill>
                            <a:schemeClr val="bg1"/>
                          </a:solidFill>
                          <a:latin typeface="Bierstadt" panose="020B0004020202020204" pitchFamily="34" charset="0"/>
                        </a:rPr>
                        <a:t>Meta Platforms Inc.</a:t>
                      </a:r>
                    </a:p>
                  </a:txBody>
                  <a:tcPr marL="36000" marR="36000" anchor="ctr"/>
                </a:tc>
                <a:tc>
                  <a:txBody>
                    <a:bodyPr/>
                    <a:lstStyle/>
                    <a:p>
                      <a:pPr algn="ctr"/>
                      <a:r>
                        <a:rPr lang="en-GB" sz="900" dirty="0">
                          <a:solidFill>
                            <a:schemeClr val="bg1"/>
                          </a:solidFill>
                          <a:latin typeface="Bierstadt" panose="020B0004020202020204" pitchFamily="34" charset="0"/>
                        </a:rPr>
                        <a:t>6.34%</a:t>
                      </a:r>
                    </a:p>
                  </a:txBody>
                  <a:tcPr anchor="ctr"/>
                </a:tc>
                <a:extLst>
                  <a:ext uri="{0D108BD9-81ED-4DB2-BD59-A6C34878D82A}">
                    <a16:rowId xmlns:a16="http://schemas.microsoft.com/office/drawing/2014/main" val="3350189937"/>
                  </a:ext>
                </a:extLst>
              </a:tr>
            </a:tbl>
          </a:graphicData>
        </a:graphic>
      </p:graphicFrame>
      <p:pic>
        <p:nvPicPr>
          <p:cNvPr id="1154" name="Picture 1153">
            <a:extLst>
              <a:ext uri="{FF2B5EF4-FFF2-40B4-BE49-F238E27FC236}">
                <a16:creationId xmlns:a16="http://schemas.microsoft.com/office/drawing/2014/main" id="{49B199E8-778D-2570-ADCC-BCC2EC8328F9}"/>
              </a:ext>
            </a:extLst>
          </p:cNvPr>
          <p:cNvPicPr>
            <a:picLocks noChangeAspect="1"/>
          </p:cNvPicPr>
          <p:nvPr/>
        </p:nvPicPr>
        <p:blipFill>
          <a:blip r:embed="rId14">
            <a:extLst>
              <a:ext uri="{BEBA8EAE-BF5A-486C-A8C5-ECC9F3942E4B}">
                <a14:imgProps xmlns:a14="http://schemas.microsoft.com/office/drawing/2010/main">
                  <a14:imgLayer r:embed="rId15">
                    <a14:imgEffect>
                      <a14:brightnessContrast bright="100000"/>
                    </a14:imgEffect>
                  </a14:imgLayer>
                </a14:imgProps>
              </a:ext>
            </a:extLst>
          </a:blip>
          <a:stretch>
            <a:fillRect/>
          </a:stretch>
        </p:blipFill>
        <p:spPr>
          <a:xfrm>
            <a:off x="5185390" y="4313254"/>
            <a:ext cx="409089" cy="191932"/>
          </a:xfrm>
          <a:prstGeom prst="rect">
            <a:avLst/>
          </a:prstGeom>
        </p:spPr>
      </p:pic>
      <p:pic>
        <p:nvPicPr>
          <p:cNvPr id="1153" name="Picture 1152">
            <a:extLst>
              <a:ext uri="{FF2B5EF4-FFF2-40B4-BE49-F238E27FC236}">
                <a16:creationId xmlns:a16="http://schemas.microsoft.com/office/drawing/2014/main" id="{E16501DF-2F2C-91E3-C393-56BFE5D9703E}"/>
              </a:ext>
            </a:extLst>
          </p:cNvPr>
          <p:cNvPicPr>
            <a:picLocks noChangeAspect="1"/>
          </p:cNvPicPr>
          <p:nvPr/>
        </p:nvPicPr>
        <p:blipFill>
          <a:blip r:embed="rId16">
            <a:extLst>
              <a:ext uri="{BEBA8EAE-BF5A-486C-A8C5-ECC9F3942E4B}">
                <a14:imgProps xmlns:a14="http://schemas.microsoft.com/office/drawing/2010/main">
                  <a14:imgLayer r:embed="rId17">
                    <a14:imgEffect>
                      <a14:brightnessContrast bright="100000"/>
                    </a14:imgEffect>
                  </a14:imgLayer>
                </a14:imgProps>
              </a:ext>
            </a:extLst>
          </a:blip>
          <a:stretch>
            <a:fillRect/>
          </a:stretch>
        </p:blipFill>
        <p:spPr>
          <a:xfrm>
            <a:off x="5128379" y="3858182"/>
            <a:ext cx="523112" cy="95905"/>
          </a:xfrm>
          <a:prstGeom prst="rect">
            <a:avLst/>
          </a:prstGeom>
        </p:spPr>
      </p:pic>
      <p:sp>
        <p:nvSpPr>
          <p:cNvPr id="5" name="Return since inception textbox">
            <a:extLst>
              <a:ext uri="{FF2B5EF4-FFF2-40B4-BE49-F238E27FC236}">
                <a16:creationId xmlns:a16="http://schemas.microsoft.com/office/drawing/2014/main" id="{FF8C9359-079B-6CB5-3198-486A750D758F}"/>
              </a:ext>
            </a:extLst>
          </p:cNvPr>
          <p:cNvSpPr/>
          <p:nvPr/>
        </p:nvSpPr>
        <p:spPr>
          <a:xfrm>
            <a:off x="364607"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Total return in USD </a:t>
            </a:r>
            <a:br>
              <a:rPr lang="en-GB" sz="700" dirty="0">
                <a:solidFill>
                  <a:schemeClr val="bg1"/>
                </a:solidFill>
              </a:rPr>
            </a:br>
            <a:r>
              <a:rPr lang="en-GB" sz="700" dirty="0">
                <a:solidFill>
                  <a:schemeClr val="bg1"/>
                </a:solidFill>
              </a:rPr>
              <a:t>since inception</a:t>
            </a:r>
            <a:endParaRPr lang="en-GB" sz="1000" b="1" dirty="0">
              <a:solidFill>
                <a:schemeClr val="bg1"/>
              </a:solidFill>
            </a:endParaRPr>
          </a:p>
        </p:txBody>
      </p:sp>
      <p:pic>
        <p:nvPicPr>
          <p:cNvPr id="1156" name="Picture 1155">
            <a:extLst>
              <a:ext uri="{FF2B5EF4-FFF2-40B4-BE49-F238E27FC236}">
                <a16:creationId xmlns:a16="http://schemas.microsoft.com/office/drawing/2014/main" id="{704277E7-DB22-E266-5D21-BD9C00F72855}"/>
              </a:ext>
            </a:extLst>
          </p:cNvPr>
          <p:cNvPicPr>
            <a:picLocks noChangeAspect="1"/>
          </p:cNvPicPr>
          <p:nvPr/>
        </p:nvPicPr>
        <p:blipFill>
          <a:blip r:embed="rId18"/>
          <a:srcRect l="28587" r="28587"/>
          <a:stretch>
            <a:fillRect/>
          </a:stretch>
        </p:blipFill>
        <p:spPr>
          <a:xfrm>
            <a:off x="5272617" y="4057954"/>
            <a:ext cx="234635" cy="182629"/>
          </a:xfrm>
          <a:prstGeom prst="rect">
            <a:avLst/>
          </a:prstGeom>
        </p:spPr>
      </p:pic>
      <p:pic>
        <p:nvPicPr>
          <p:cNvPr id="1157" name="Picture 1156">
            <a:extLst>
              <a:ext uri="{FF2B5EF4-FFF2-40B4-BE49-F238E27FC236}">
                <a16:creationId xmlns:a16="http://schemas.microsoft.com/office/drawing/2014/main" id="{B3FAC5A4-A457-C2FF-A22A-0BF707979552}"/>
              </a:ext>
            </a:extLst>
          </p:cNvPr>
          <p:cNvPicPr>
            <a:picLocks noChangeAspect="1"/>
          </p:cNvPicPr>
          <p:nvPr/>
        </p:nvPicPr>
        <p:blipFill>
          <a:blip r:embed="rId19">
            <a:extLst>
              <a:ext uri="{BEBA8EAE-BF5A-486C-A8C5-ECC9F3942E4B}">
                <a14:imgProps xmlns:a14="http://schemas.microsoft.com/office/drawing/2010/main">
                  <a14:imgLayer r:embed="rId20">
                    <a14:imgEffect>
                      <a14:brightnessContrast bright="100000"/>
                    </a14:imgEffect>
                  </a14:imgLayer>
                </a14:imgProps>
              </a:ext>
            </a:extLst>
          </a:blip>
          <a:stretch>
            <a:fillRect/>
          </a:stretch>
        </p:blipFill>
        <p:spPr>
          <a:xfrm>
            <a:off x="5113390" y="4620541"/>
            <a:ext cx="553088" cy="113614"/>
          </a:xfrm>
          <a:prstGeom prst="rect">
            <a:avLst/>
          </a:prstGeom>
        </p:spPr>
      </p:pic>
      <p:pic>
        <p:nvPicPr>
          <p:cNvPr id="1158" name="Picture 1157">
            <a:extLst>
              <a:ext uri="{FF2B5EF4-FFF2-40B4-BE49-F238E27FC236}">
                <a16:creationId xmlns:a16="http://schemas.microsoft.com/office/drawing/2014/main" id="{002F52CE-9C6A-941E-158B-2E461D399CDF}"/>
              </a:ext>
            </a:extLst>
          </p:cNvPr>
          <p:cNvPicPr>
            <a:picLocks noChangeAspect="1"/>
          </p:cNvPicPr>
          <p:nvPr/>
        </p:nvPicPr>
        <p:blipFill>
          <a:blip r:embed="rId21">
            <a:extLst>
              <a:ext uri="{BEBA8EAE-BF5A-486C-A8C5-ECC9F3942E4B}">
                <a14:imgProps xmlns:a14="http://schemas.microsoft.com/office/drawing/2010/main">
                  <a14:imgLayer r:embed="rId22">
                    <a14:imgEffect>
                      <a14:brightnessContrast bright="100000"/>
                    </a14:imgEffect>
                  </a14:imgLayer>
                </a14:imgProps>
              </a:ext>
            </a:extLst>
          </a:blip>
          <a:stretch>
            <a:fillRect/>
          </a:stretch>
        </p:blipFill>
        <p:spPr>
          <a:xfrm>
            <a:off x="5163456" y="4909910"/>
            <a:ext cx="452956" cy="91260"/>
          </a:xfrm>
          <a:prstGeom prst="rect">
            <a:avLst/>
          </a:prstGeom>
        </p:spPr>
      </p:pic>
      <p:sp>
        <p:nvSpPr>
          <p:cNvPr id="10" name="avg compounded yearly return since inception textbox">
            <a:extLst>
              <a:ext uri="{FF2B5EF4-FFF2-40B4-BE49-F238E27FC236}">
                <a16:creationId xmlns:a16="http://schemas.microsoft.com/office/drawing/2014/main" id="{5ACF03ED-94B4-9721-D6EE-2F6EAEB25292}"/>
              </a:ext>
            </a:extLst>
          </p:cNvPr>
          <p:cNvSpPr/>
          <p:nvPr/>
        </p:nvSpPr>
        <p:spPr>
          <a:xfrm>
            <a:off x="2371535"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Avg. </a:t>
            </a:r>
            <a:r>
              <a:rPr lang="en-US" sz="700" dirty="0">
                <a:solidFill>
                  <a:schemeClr val="bg1"/>
                </a:solidFill>
              </a:rPr>
              <a:t>compounded yearly</a:t>
            </a:r>
            <a:br>
              <a:rPr lang="en-US" sz="700" dirty="0">
                <a:solidFill>
                  <a:schemeClr val="bg1"/>
                </a:solidFill>
              </a:rPr>
            </a:br>
            <a:r>
              <a:rPr lang="en-US" sz="700" dirty="0">
                <a:solidFill>
                  <a:schemeClr val="bg1"/>
                </a:solidFill>
              </a:rPr>
              <a:t>return since inception</a:t>
            </a:r>
            <a:endParaRPr lang="en-GB" sz="900" b="1" dirty="0">
              <a:solidFill>
                <a:schemeClr val="bg1"/>
              </a:solidFill>
            </a:endParaRPr>
          </a:p>
        </p:txBody>
      </p:sp>
      <p:sp>
        <p:nvSpPr>
          <p:cNvPr id="9" name="YTD return textbox">
            <a:extLst>
              <a:ext uri="{FF2B5EF4-FFF2-40B4-BE49-F238E27FC236}">
                <a16:creationId xmlns:a16="http://schemas.microsoft.com/office/drawing/2014/main" id="{4F743491-8F3F-770B-A226-293C9C2C03FC}"/>
              </a:ext>
            </a:extLst>
          </p:cNvPr>
          <p:cNvSpPr/>
          <p:nvPr/>
        </p:nvSpPr>
        <p:spPr>
          <a:xfrm>
            <a:off x="1368071"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Total YTD return </a:t>
            </a:r>
            <a:br>
              <a:rPr lang="en-GB" sz="700" dirty="0">
                <a:solidFill>
                  <a:schemeClr val="bg1"/>
                </a:solidFill>
              </a:rPr>
            </a:br>
            <a:r>
              <a:rPr lang="en-GB" sz="700" dirty="0">
                <a:solidFill>
                  <a:schemeClr val="bg1"/>
                </a:solidFill>
              </a:rPr>
              <a:t>in USD</a:t>
            </a:r>
            <a:endParaRPr lang="en-GB" sz="1000" b="1" dirty="0">
              <a:solidFill>
                <a:schemeClr val="bg1"/>
              </a:solidFill>
            </a:endParaRPr>
          </a:p>
        </p:txBody>
      </p:sp>
      <p:graphicFrame>
        <p:nvGraphicFramePr>
          <p:cNvPr id="6" name="VOLATILITY_TABLE">
            <a:extLst>
              <a:ext uri="{FF2B5EF4-FFF2-40B4-BE49-F238E27FC236}">
                <a16:creationId xmlns:a16="http://schemas.microsoft.com/office/drawing/2014/main" id="{181714F8-70BB-E94C-F57D-21041F9D1C79}"/>
              </a:ext>
            </a:extLst>
          </p:cNvPr>
          <p:cNvGraphicFramePr>
            <a:graphicFrameLocks noGrp="1"/>
          </p:cNvGraphicFramePr>
          <p:nvPr>
            <p:extLst>
              <p:ext uri="{D42A27DB-BD31-4B8C-83A1-F6EECF244321}">
                <p14:modId xmlns:p14="http://schemas.microsoft.com/office/powerpoint/2010/main" val="388570663"/>
              </p:ext>
            </p:extLst>
          </p:nvPr>
        </p:nvGraphicFramePr>
        <p:xfrm>
          <a:off x="3561469" y="5410372"/>
          <a:ext cx="2925455" cy="1264804"/>
        </p:xfrm>
        <a:graphic>
          <a:graphicData uri="http://schemas.openxmlformats.org/drawingml/2006/table">
            <a:tbl>
              <a:tblPr firstRow="1" bandRow="1">
                <a:tableStyleId>{C083E6E3-FA7D-4D7B-A595-EF9225AFEA82}</a:tableStyleId>
              </a:tblPr>
              <a:tblGrid>
                <a:gridCol w="1205603">
                  <a:extLst>
                    <a:ext uri="{9D8B030D-6E8A-4147-A177-3AD203B41FA5}">
                      <a16:colId xmlns:a16="http://schemas.microsoft.com/office/drawing/2014/main" val="3093225150"/>
                    </a:ext>
                  </a:extLst>
                </a:gridCol>
                <a:gridCol w="859926">
                  <a:extLst>
                    <a:ext uri="{9D8B030D-6E8A-4147-A177-3AD203B41FA5}">
                      <a16:colId xmlns:a16="http://schemas.microsoft.com/office/drawing/2014/main" val="2083068548"/>
                    </a:ext>
                  </a:extLst>
                </a:gridCol>
                <a:gridCol w="859926">
                  <a:extLst>
                    <a:ext uri="{9D8B030D-6E8A-4147-A177-3AD203B41FA5}">
                      <a16:colId xmlns:a16="http://schemas.microsoft.com/office/drawing/2014/main" val="707442416"/>
                    </a:ext>
                  </a:extLst>
                </a:gridCol>
              </a:tblGrid>
              <a:tr h="237672">
                <a:tc>
                  <a:txBody>
                    <a:bodyPr/>
                    <a:lstStyle/>
                    <a:p>
                      <a:r>
                        <a:rPr lang="en-GB" sz="900" dirty="0">
                          <a:solidFill>
                            <a:schemeClr val="bg1"/>
                          </a:solidFill>
                          <a:latin typeface="Bierstadt" panose="020B0004020202020204" pitchFamily="34" charset="0"/>
                        </a:rPr>
                        <a:t>Metric</a:t>
                      </a:r>
                    </a:p>
                  </a:txBody>
                  <a:tcPr marL="36000" marR="36000"/>
                </a:tc>
                <a:tc>
                  <a:txBody>
                    <a:bodyPr/>
                    <a:lstStyle/>
                    <a:p>
                      <a:pPr algn="ctr"/>
                      <a:r>
                        <a:rPr lang="en-GB" sz="900" dirty="0">
                          <a:solidFill>
                            <a:schemeClr val="bg1"/>
                          </a:solidFill>
                          <a:latin typeface="Bierstadt" panose="020B0004020202020204" pitchFamily="34" charset="0"/>
                        </a:rPr>
                        <a:t>Portfolio</a:t>
                      </a:r>
                    </a:p>
                  </a:txBody>
                  <a:tcPr/>
                </a:tc>
                <a:tc>
                  <a:txBody>
                    <a:bodyPr/>
                    <a:lstStyle/>
                    <a:p>
                      <a:pPr algn="ctr"/>
                      <a:r>
                        <a:rPr lang="en-GB" sz="900" dirty="0">
                          <a:solidFill>
                            <a:schemeClr val="bg1"/>
                          </a:solidFill>
                          <a:latin typeface="Bierstadt" panose="020B0004020202020204" pitchFamily="34" charset="0"/>
                        </a:rPr>
                        <a:t>Benchmark</a:t>
                      </a:r>
                    </a:p>
                  </a:txBody>
                  <a:tcPr/>
                </a:tc>
                <a:extLst>
                  <a:ext uri="{0D108BD9-81ED-4DB2-BD59-A6C34878D82A}">
                    <a16:rowId xmlns:a16="http://schemas.microsoft.com/office/drawing/2014/main" val="3994823784"/>
                  </a:ext>
                </a:extLst>
              </a:tr>
              <a:tr h="323188">
                <a:tc>
                  <a:txBody>
                    <a:bodyPr/>
                    <a:lstStyle/>
                    <a:p>
                      <a:r>
                        <a:rPr lang="en-GB" sz="900" dirty="0">
                          <a:solidFill>
                            <a:schemeClr val="bg1"/>
                          </a:solidFill>
                          <a:latin typeface="Bierstadt" panose="020B0004020202020204" pitchFamily="34" charset="0"/>
                        </a:rPr>
                        <a:t>Mean monthly return</a:t>
                      </a:r>
                    </a:p>
                  </a:txBody>
                  <a:tcPr marL="36000" marR="36000" anchor="ctr"/>
                </a:tc>
                <a:tc>
                  <a:txBody>
                    <a:bodyPr/>
                    <a:lstStyle/>
                    <a:p>
                      <a:pPr algn="ctr"/>
                      <a:r>
                        <a:rPr lang="en-GB" sz="900" dirty="0">
                          <a:solidFill>
                            <a:schemeClr val="bg1"/>
                          </a:solidFill>
                          <a:latin typeface="Bierstadt" panose="020B0004020202020204" pitchFamily="34" charset="0"/>
                        </a:rPr>
                        <a:t>0.88%</a:t>
                      </a:r>
                    </a:p>
                  </a:txBody>
                  <a:tcPr anchor="ctr"/>
                </a:tc>
                <a:tc>
                  <a:txBody>
                    <a:bodyPr/>
                    <a:lstStyle/>
                    <a:p>
                      <a:pPr algn="ctr"/>
                      <a:r>
                        <a:rPr lang="en-GB" sz="900" dirty="0">
                          <a:solidFill>
                            <a:schemeClr val="bg1"/>
                          </a:solidFill>
                          <a:latin typeface="Bierstadt" panose="020B0004020202020204" pitchFamily="34" charset="0"/>
                        </a:rPr>
                        <a:t>0.80%</a:t>
                      </a:r>
                    </a:p>
                  </a:txBody>
                  <a:tcPr anchor="ctr"/>
                </a:tc>
                <a:extLst>
                  <a:ext uri="{0D108BD9-81ED-4DB2-BD59-A6C34878D82A}">
                    <a16:rowId xmlns:a16="http://schemas.microsoft.com/office/drawing/2014/main" val="3917662697"/>
                  </a:ext>
                </a:extLst>
              </a:tr>
              <a:tr h="237672">
                <a:tc>
                  <a:txBody>
                    <a:bodyPr/>
                    <a:lstStyle/>
                    <a:p>
                      <a:r>
                        <a:rPr lang="en-GB" sz="900" dirty="0">
                          <a:solidFill>
                            <a:schemeClr val="bg1"/>
                          </a:solidFill>
                          <a:latin typeface="Bierstadt" panose="020B0004020202020204" pitchFamily="34" charset="0"/>
                        </a:rPr>
                        <a:t>Std Dev (Monthly)</a:t>
                      </a:r>
                    </a:p>
                  </a:txBody>
                  <a:tcPr marL="36000" marR="36000" anchor="ctr"/>
                </a:tc>
                <a:tc>
                  <a:txBody>
                    <a:bodyPr/>
                    <a:lstStyle/>
                    <a:p>
                      <a:pPr algn="ctr"/>
                      <a:r>
                        <a:rPr lang="en-GB" sz="900" dirty="0">
                          <a:solidFill>
                            <a:schemeClr val="bg1"/>
                          </a:solidFill>
                          <a:latin typeface="Bierstadt" panose="020B0004020202020204" pitchFamily="34" charset="0"/>
                        </a:rPr>
                        <a:t>5.57%</a:t>
                      </a:r>
                    </a:p>
                  </a:txBody>
                  <a:tcPr anchor="ctr"/>
                </a:tc>
                <a:tc>
                  <a:txBody>
                    <a:bodyPr/>
                    <a:lstStyle/>
                    <a:p>
                      <a:pPr algn="ctr"/>
                      <a:r>
                        <a:rPr lang="en-GB" sz="900" dirty="0">
                          <a:solidFill>
                            <a:schemeClr val="bg1"/>
                          </a:solidFill>
                          <a:latin typeface="Bierstadt" panose="020B0004020202020204" pitchFamily="34" charset="0"/>
                        </a:rPr>
                        <a:t>4.50%</a:t>
                      </a:r>
                    </a:p>
                  </a:txBody>
                  <a:tcPr anchor="ctr"/>
                </a:tc>
                <a:extLst>
                  <a:ext uri="{0D108BD9-81ED-4DB2-BD59-A6C34878D82A}">
                    <a16:rowId xmlns:a16="http://schemas.microsoft.com/office/drawing/2014/main" val="3393200440"/>
                  </a:ext>
                </a:extLst>
              </a:tr>
              <a:tr h="237672">
                <a:tc>
                  <a:txBody>
                    <a:bodyPr/>
                    <a:lstStyle/>
                    <a:p>
                      <a:r>
                        <a:rPr lang="en-GB" sz="900" b="1" dirty="0">
                          <a:solidFill>
                            <a:schemeClr val="bg1"/>
                          </a:solidFill>
                          <a:latin typeface="Bierstadt" panose="020B0004020202020204" pitchFamily="34" charset="0"/>
                        </a:rPr>
                        <a:t>Annualized Volatility</a:t>
                      </a:r>
                    </a:p>
                  </a:txBody>
                  <a:tcPr marL="36000" marR="36000" anchor="ctr"/>
                </a:tc>
                <a:tc>
                  <a:txBody>
                    <a:bodyPr/>
                    <a:lstStyle/>
                    <a:p>
                      <a:pPr algn="ctr"/>
                      <a:r>
                        <a:rPr lang="en-GB" sz="900" b="1" dirty="0">
                          <a:solidFill>
                            <a:schemeClr val="bg1"/>
                          </a:solidFill>
                          <a:latin typeface="Bierstadt" panose="020B0004020202020204" pitchFamily="34" charset="0"/>
                        </a:rPr>
                        <a:t>19.30%</a:t>
                      </a:r>
                    </a:p>
                  </a:txBody>
                  <a:tcPr anchor="ctr"/>
                </a:tc>
                <a:tc>
                  <a:txBody>
                    <a:bodyPr/>
                    <a:lstStyle/>
                    <a:p>
                      <a:pPr algn="ctr"/>
                      <a:r>
                        <a:rPr lang="en-GB" sz="900" b="1" dirty="0">
                          <a:solidFill>
                            <a:schemeClr val="bg1"/>
                          </a:solidFill>
                          <a:latin typeface="Bierstadt" panose="020B0004020202020204" pitchFamily="34" charset="0"/>
                        </a:rPr>
                        <a:t>15.58%</a:t>
                      </a:r>
                    </a:p>
                  </a:txBody>
                  <a:tcPr anchor="ctr"/>
                </a:tc>
                <a:extLst>
                  <a:ext uri="{0D108BD9-81ED-4DB2-BD59-A6C34878D82A}">
                    <a16:rowId xmlns:a16="http://schemas.microsoft.com/office/drawing/2014/main" val="1147317178"/>
                  </a:ext>
                </a:extLst>
              </a:tr>
              <a:tr h="0">
                <a:tc>
                  <a:txBody>
                    <a:bodyPr/>
                    <a:lstStyle/>
                    <a:p>
                      <a:r>
                        <a:rPr lang="en-GB" sz="900" b="0" dirty="0">
                          <a:solidFill>
                            <a:schemeClr val="bg1"/>
                          </a:solidFill>
                          <a:latin typeface="Bierstadt" panose="020B0004020202020204" pitchFamily="34" charset="0"/>
                        </a:rPr>
                        <a:t>Sharpe ratio</a:t>
                      </a:r>
                    </a:p>
                  </a:txBody>
                  <a:tcPr marL="36000" marR="36000" anchor="ctr"/>
                </a:tc>
                <a:tc>
                  <a:txBody>
                    <a:bodyPr/>
                    <a:lstStyle/>
                    <a:p>
                      <a:pPr algn="ctr"/>
                      <a:r>
                        <a:rPr lang="en-GB" sz="900" b="0" dirty="0">
                          <a:solidFill>
                            <a:schemeClr val="bg1"/>
                          </a:solidFill>
                          <a:latin typeface="Bierstadt" panose="020B0004020202020204" pitchFamily="34" charset="0"/>
                        </a:rPr>
                        <a:t>0.47</a:t>
                      </a:r>
                    </a:p>
                  </a:txBody>
                  <a:tcPr anchor="ctr"/>
                </a:tc>
                <a:tc>
                  <a:txBody>
                    <a:bodyPr/>
                    <a:lstStyle/>
                    <a:p>
                      <a:pPr algn="ctr"/>
                      <a:r>
                        <a:rPr lang="en-GB" sz="900" b="0" dirty="0">
                          <a:solidFill>
                            <a:schemeClr val="bg1"/>
                          </a:solidFill>
                          <a:latin typeface="Bierstadt" panose="020B0004020202020204" pitchFamily="34" charset="0"/>
                        </a:rPr>
                        <a:t>0.57</a:t>
                      </a:r>
                    </a:p>
                  </a:txBody>
                  <a:tcPr anchor="ctr"/>
                </a:tc>
                <a:extLst>
                  <a:ext uri="{0D108BD9-81ED-4DB2-BD59-A6C34878D82A}">
                    <a16:rowId xmlns:a16="http://schemas.microsoft.com/office/drawing/2014/main" val="802987148"/>
                  </a:ext>
                </a:extLst>
              </a:tr>
            </a:tbl>
          </a:graphicData>
        </a:graphic>
      </p:graphicFrame>
      <p:grpSp>
        <p:nvGrpSpPr>
          <p:cNvPr id="7" name="Group 6">
            <a:extLst>
              <a:ext uri="{FF2B5EF4-FFF2-40B4-BE49-F238E27FC236}">
                <a16:creationId xmlns:a16="http://schemas.microsoft.com/office/drawing/2014/main" id="{10A7D411-409F-A063-D278-8929DD099352}"/>
              </a:ext>
            </a:extLst>
          </p:cNvPr>
          <p:cNvGrpSpPr/>
          <p:nvPr/>
        </p:nvGrpSpPr>
        <p:grpSpPr>
          <a:xfrm>
            <a:off x="3483000" y="3162351"/>
            <a:ext cx="3082392" cy="232459"/>
            <a:chOff x="292608" y="1013780"/>
            <a:chExt cx="3082392" cy="232459"/>
          </a:xfrm>
        </p:grpSpPr>
        <p:cxnSp>
          <p:nvCxnSpPr>
            <p:cNvPr id="8" name="Straight Connector 7">
              <a:extLst>
                <a:ext uri="{FF2B5EF4-FFF2-40B4-BE49-F238E27FC236}">
                  <a16:creationId xmlns:a16="http://schemas.microsoft.com/office/drawing/2014/main" id="{612F75D1-B1E7-FD43-4229-5B177B8433AA}"/>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CFCFE3C-E54F-00D4-0602-B55067293672}"/>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Top 5 holdings</a:t>
              </a:r>
              <a:endParaRPr lang="en-GB" sz="1000" b="1" dirty="0">
                <a:solidFill>
                  <a:schemeClr val="bg1"/>
                </a:solidFill>
                <a:latin typeface="Bierstadt"/>
              </a:endParaRPr>
            </a:p>
          </p:txBody>
        </p:sp>
      </p:grpSp>
      <p:graphicFrame>
        <p:nvGraphicFramePr>
          <p:cNvPr id="16" name="CHART_PERF_LINE">
            <a:extLst>
              <a:ext uri="{FF2B5EF4-FFF2-40B4-BE49-F238E27FC236}">
                <a16:creationId xmlns:a16="http://schemas.microsoft.com/office/drawing/2014/main" id="{E4A34720-26F5-61E7-9AE8-9FBD771B264F}"/>
              </a:ext>
            </a:extLst>
          </p:cNvPr>
          <p:cNvGraphicFramePr>
            <a:graphicFrameLocks/>
          </p:cNvGraphicFramePr>
          <p:nvPr>
            <p:extLst>
              <p:ext uri="{D42A27DB-BD31-4B8C-83A1-F6EECF244321}">
                <p14:modId xmlns:p14="http://schemas.microsoft.com/office/powerpoint/2010/main" val="3645003504"/>
              </p:ext>
            </p:extLst>
          </p:nvPr>
        </p:nvGraphicFramePr>
        <p:xfrm>
          <a:off x="292608" y="4298812"/>
          <a:ext cx="3082392" cy="2446545"/>
        </p:xfrm>
        <a:graphic>
          <a:graphicData uri="http://schemas.openxmlformats.org/drawingml/2006/chart">
            <c:chart xmlns:c="http://schemas.openxmlformats.org/drawingml/2006/chart" xmlns:r="http://schemas.openxmlformats.org/officeDocument/2006/relationships" r:id="rId23"/>
          </a:graphicData>
        </a:graphic>
      </p:graphicFrame>
      <p:sp>
        <p:nvSpPr>
          <p:cNvPr id="14" name="RET_SINCE_INCEPT">
            <a:extLst>
              <a:ext uri="{FF2B5EF4-FFF2-40B4-BE49-F238E27FC236}">
                <a16:creationId xmlns:a16="http://schemas.microsoft.com/office/drawing/2014/main" id="{1680B882-72BD-71AE-6730-B8ECD1E99FA0}"/>
              </a:ext>
            </a:extLst>
          </p:cNvPr>
          <p:cNvSpPr/>
          <p:nvPr/>
        </p:nvSpPr>
        <p:spPr>
          <a:xfrm>
            <a:off x="364607"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42.39%</a:t>
            </a:r>
            <a:br>
              <a:rPr lang="en-GB" sz="1000" b="1" dirty="0">
                <a:solidFill>
                  <a:schemeClr val="bg1"/>
                </a:solidFill>
              </a:rPr>
            </a:br>
            <a:endParaRPr lang="en-GB" sz="1000" b="1" dirty="0">
              <a:solidFill>
                <a:schemeClr val="bg1"/>
              </a:solidFill>
            </a:endParaRPr>
          </a:p>
        </p:txBody>
      </p:sp>
      <p:sp>
        <p:nvSpPr>
          <p:cNvPr id="15" name="YTD_RETURN_USD">
            <a:extLst>
              <a:ext uri="{FF2B5EF4-FFF2-40B4-BE49-F238E27FC236}">
                <a16:creationId xmlns:a16="http://schemas.microsoft.com/office/drawing/2014/main" id="{392C4E61-6CE6-4980-5659-C6652696343C}"/>
              </a:ext>
            </a:extLst>
          </p:cNvPr>
          <p:cNvSpPr/>
          <p:nvPr/>
        </p:nvSpPr>
        <p:spPr>
          <a:xfrm>
            <a:off x="1368071"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16.65%</a:t>
            </a:r>
            <a:endParaRPr lang="en-GB" sz="1000" b="1" dirty="0">
              <a:solidFill>
                <a:schemeClr val="bg1"/>
              </a:solidFill>
            </a:endParaRPr>
          </a:p>
        </p:txBody>
      </p:sp>
      <p:sp>
        <p:nvSpPr>
          <p:cNvPr id="17" name="AVG_Y_COMP_RET_SINCE_INCEPT">
            <a:extLst>
              <a:ext uri="{FF2B5EF4-FFF2-40B4-BE49-F238E27FC236}">
                <a16:creationId xmlns:a16="http://schemas.microsoft.com/office/drawing/2014/main" id="{3B7398A2-22FB-9185-21DD-EABB29FA203D}"/>
              </a:ext>
            </a:extLst>
          </p:cNvPr>
          <p:cNvSpPr/>
          <p:nvPr/>
        </p:nvSpPr>
        <p:spPr>
          <a:xfrm>
            <a:off x="2371535"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9.06%</a:t>
            </a:r>
            <a:endParaRPr lang="en-GB" sz="1000" b="1" dirty="0">
              <a:solidFill>
                <a:schemeClr val="bg1"/>
              </a:solidFill>
            </a:endParaRPr>
          </a:p>
        </p:txBody>
      </p:sp>
    </p:spTree>
    <p:extLst>
      <p:ext uri="{BB962C8B-B14F-4D97-AF65-F5344CB8AC3E}">
        <p14:creationId xmlns:p14="http://schemas.microsoft.com/office/powerpoint/2010/main" val="1086331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8F08F-1CCE-FF7E-0781-148612BCC4E5}"/>
            </a:ext>
          </a:extLst>
        </p:cNvPr>
        <p:cNvGrpSpPr/>
        <p:nvPr/>
      </p:nvGrpSpPr>
      <p:grpSpPr>
        <a:xfrm>
          <a:off x="0" y="0"/>
          <a:ext cx="0" cy="0"/>
          <a:chOff x="0" y="0"/>
          <a:chExt cx="0" cy="0"/>
        </a:xfrm>
      </p:grpSpPr>
      <p:pic>
        <p:nvPicPr>
          <p:cNvPr id="22" name="Picture 21">
            <a:extLst>
              <a:ext uri="{FF2B5EF4-FFF2-40B4-BE49-F238E27FC236}">
                <a16:creationId xmlns:a16="http://schemas.microsoft.com/office/drawing/2014/main" id="{2779A11D-480E-334A-262D-11CDEC753E12}"/>
              </a:ext>
            </a:extLst>
          </p:cNvPr>
          <p:cNvPicPr>
            <a:picLocks noChangeAspect="1"/>
          </p:cNvPicPr>
          <p:nvPr/>
        </p:nvPicPr>
        <p:blipFill>
          <a:blip r:embed="rId3"/>
          <a:srcRect l="22209" r="31694"/>
          <a:stretch>
            <a:fillRect/>
          </a:stretch>
        </p:blipFill>
        <p:spPr>
          <a:xfrm>
            <a:off x="0" y="0"/>
            <a:ext cx="6858000" cy="9918192"/>
          </a:xfrm>
          <a:prstGeom prst="rect">
            <a:avLst/>
          </a:prstGeom>
        </p:spPr>
      </p:pic>
      <p:sp>
        <p:nvSpPr>
          <p:cNvPr id="21" name="Rectangle 20">
            <a:extLst>
              <a:ext uri="{FF2B5EF4-FFF2-40B4-BE49-F238E27FC236}">
                <a16:creationId xmlns:a16="http://schemas.microsoft.com/office/drawing/2014/main" id="{FFBF8C92-1768-16F6-C6A4-7E343B895641}"/>
              </a:ext>
            </a:extLst>
          </p:cNvPr>
          <p:cNvSpPr/>
          <p:nvPr/>
        </p:nvSpPr>
        <p:spPr>
          <a:xfrm>
            <a:off x="0" y="0"/>
            <a:ext cx="6858000" cy="9918192"/>
          </a:xfrm>
          <a:prstGeom prst="rect">
            <a:avLst/>
          </a:prstGeom>
          <a:gradFill flip="none" rotWithShape="1">
            <a:gsLst>
              <a:gs pos="0">
                <a:schemeClr val="tx1">
                  <a:alpha val="95000"/>
                </a:schemeClr>
              </a:gs>
              <a:gs pos="100000">
                <a:schemeClr val="accent6">
                  <a:alpha val="95000"/>
                </a:schemeClr>
              </a:gs>
            </a:gsLst>
            <a:lin ang="27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noProof="0" dirty="0">
              <a:solidFill>
                <a:schemeClr val="bg1"/>
              </a:solidFill>
            </a:endParaRPr>
          </a:p>
        </p:txBody>
      </p:sp>
      <p:sp>
        <p:nvSpPr>
          <p:cNvPr id="1038" name="Rectangle 1037">
            <a:extLst>
              <a:ext uri="{FF2B5EF4-FFF2-40B4-BE49-F238E27FC236}">
                <a16:creationId xmlns:a16="http://schemas.microsoft.com/office/drawing/2014/main" id="{3AA0F09E-8CD5-6807-79D1-A66E897C7BBD}"/>
              </a:ext>
            </a:extLst>
          </p:cNvPr>
          <p:cNvSpPr/>
          <p:nvPr/>
        </p:nvSpPr>
        <p:spPr>
          <a:xfrm>
            <a:off x="292608" y="292609"/>
            <a:ext cx="6272784" cy="613171"/>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pic>
        <p:nvPicPr>
          <p:cNvPr id="60" name="Picture 59" descr="Kukula Capital">
            <a:extLst>
              <a:ext uri="{FF2B5EF4-FFF2-40B4-BE49-F238E27FC236}">
                <a16:creationId xmlns:a16="http://schemas.microsoft.com/office/drawing/2014/main" id="{EAE14FC9-B929-8BEE-D671-582E36D9BA34}"/>
              </a:ext>
            </a:extLst>
          </p:cNvPr>
          <p:cNvPicPr>
            <a:picLocks noChangeAspect="1" noChangeArrowheads="1"/>
          </p:cNvPicPr>
          <p:nvPr/>
        </p:nvPicPr>
        <p:blipFill>
          <a:blip r:embed="rId4">
            <a:biLevel thresh="25000"/>
            <a:extLst>
              <a:ext uri="{28A0092B-C50C-407E-A947-70E740481C1C}">
                <a14:useLocalDpi xmlns:a14="http://schemas.microsoft.com/office/drawing/2010/main"/>
              </a:ext>
            </a:extLst>
          </a:blip>
          <a:srcRect/>
          <a:stretch>
            <a:fillRect/>
          </a:stretch>
        </p:blipFill>
        <p:spPr bwMode="auto">
          <a:xfrm>
            <a:off x="5183238" y="420406"/>
            <a:ext cx="1234212" cy="357576"/>
          </a:xfrm>
          <a:prstGeom prst="rect">
            <a:avLst/>
          </a:prstGeom>
          <a:noFill/>
          <a:extLst>
            <a:ext uri="{909E8E84-426E-40DD-AFC4-6F175D3DCCD1}">
              <a14:hiddenFill xmlns:a14="http://schemas.microsoft.com/office/drawing/2010/main">
                <a:solidFill>
                  <a:srgbClr val="FFFFFF"/>
                </a:solidFill>
              </a14:hiddenFill>
            </a:ext>
          </a:extLst>
        </p:spPr>
      </p:pic>
      <p:grpSp>
        <p:nvGrpSpPr>
          <p:cNvPr id="1031" name="Group 1030">
            <a:extLst>
              <a:ext uri="{FF2B5EF4-FFF2-40B4-BE49-F238E27FC236}">
                <a16:creationId xmlns:a16="http://schemas.microsoft.com/office/drawing/2014/main" id="{3D7D9478-AA93-8084-8BED-8FB551C77090}"/>
              </a:ext>
            </a:extLst>
          </p:cNvPr>
          <p:cNvGrpSpPr/>
          <p:nvPr/>
        </p:nvGrpSpPr>
        <p:grpSpPr>
          <a:xfrm>
            <a:off x="292608" y="348002"/>
            <a:ext cx="4364736" cy="502385"/>
            <a:chOff x="292608" y="157085"/>
            <a:chExt cx="4364736" cy="502385"/>
          </a:xfrm>
        </p:grpSpPr>
        <p:sp>
          <p:nvSpPr>
            <p:cNvPr id="61" name="TextBox 60">
              <a:extLst>
                <a:ext uri="{FF2B5EF4-FFF2-40B4-BE49-F238E27FC236}">
                  <a16:creationId xmlns:a16="http://schemas.microsoft.com/office/drawing/2014/main" id="{3E360A5B-C17E-37B0-5EF4-39C71FE4AF1A}"/>
                </a:ext>
              </a:extLst>
            </p:cNvPr>
            <p:cNvSpPr txBox="1"/>
            <p:nvPr/>
          </p:nvSpPr>
          <p:spPr>
            <a:xfrm>
              <a:off x="292608" y="157085"/>
              <a:ext cx="436473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keena" pitchFamily="2" charset="0"/>
                </a:rPr>
                <a:t>Kukula Global Growth Portfolio</a:t>
              </a:r>
              <a:endParaRPr kumimoji="0" lang="en-ZA" sz="1600" b="0" i="0" u="none" strike="noStrike" kern="1200" cap="none" spc="0" normalizeH="0" baseline="0" noProof="0" dirty="0">
                <a:ln>
                  <a:noFill/>
                </a:ln>
                <a:solidFill>
                  <a:prstClr val="white"/>
                </a:solidFill>
                <a:effectLst/>
                <a:uLnTx/>
                <a:uFillTx/>
                <a:latin typeface="Skeena" pitchFamily="2" charset="0"/>
              </a:endParaRPr>
            </a:p>
          </p:txBody>
        </p:sp>
        <p:sp>
          <p:nvSpPr>
            <p:cNvPr id="1024" name="DATE_ISSUED_2">
              <a:extLst>
                <a:ext uri="{FF2B5EF4-FFF2-40B4-BE49-F238E27FC236}">
                  <a16:creationId xmlns:a16="http://schemas.microsoft.com/office/drawing/2014/main" id="{51F57ADC-A945-6C43-7EA4-C14722602195}"/>
                </a:ext>
              </a:extLst>
            </p:cNvPr>
            <p:cNvSpPr txBox="1"/>
            <p:nvPr/>
          </p:nvSpPr>
          <p:spPr>
            <a:xfrm>
              <a:off x="292608" y="397860"/>
              <a:ext cx="4157472" cy="261610"/>
            </a:xfrm>
            <a:prstGeom prst="rect">
              <a:avLst/>
            </a:prstGeom>
            <a:noFill/>
          </p:spPr>
          <p:txBody>
            <a:bodyPr wrap="square" lIns="91440" tIns="45720" rIns="91440" bIns="45720" rtlCol="0" anchor="t">
              <a:spAutoFit/>
            </a:bodyPr>
            <a:lstStyle/>
            <a:p>
              <a:pPr>
                <a:defRPr/>
              </a:pPr>
              <a:r>
                <a:rPr kumimoji="0" lang="en-US" sz="1100" b="0" i="0" u="none" strike="noStrike" kern="1200" cap="none" spc="0" normalizeH="0" baseline="0" noProof="0" dirty="0">
                  <a:ln>
                    <a:noFill/>
                  </a:ln>
                  <a:solidFill>
                    <a:prstClr val="white"/>
                  </a:solidFill>
                  <a:effectLst/>
                  <a:uLnTx/>
                  <a:uFillTx/>
                  <a:latin typeface="+mj-lt"/>
                </a:rPr>
                <a:t>Fact Sheet|Issued 30 October 2025</a:t>
              </a:r>
              <a:r>
                <a:rPr kumimoji="0" lang="en-US" sz="1100" b="0" i="0" u="none" strike="noStrike" kern="1200" cap="none" spc="0" normalizeH="0" baseline="0" noProof="0" dirty="0" err="1">
                  <a:ln>
                    <a:noFill/>
                  </a:ln>
                  <a:solidFill>
                    <a:prstClr val="white"/>
                  </a:solidFill>
                  <a:effectLst/>
                  <a:uLnTx/>
                  <a:uFillTx/>
                  <a:latin typeface="+mj-lt"/>
                </a:rPr>
                <a:t/>
              </a:r>
              <a:r>
                <a:rPr kumimoji="0" lang="en-US" sz="1100" b="0" i="0" u="none" strike="noStrike" kern="1200" cap="none" spc="0" normalizeH="0" baseline="0" noProof="0" dirty="0">
                  <a:ln>
                    <a:noFill/>
                  </a:ln>
                  <a:solidFill>
                    <a:prstClr val="white"/>
                  </a:solidFill>
                  <a:effectLst/>
                  <a:uLnTx/>
                  <a:uFillTx/>
                  <a:latin typeface="+mj-lt"/>
                </a:rPr>
                <a:t/>
              </a:r>
              <a:r>
                <a:rPr lang="en-US" sz="1100" dirty="0">
                  <a:solidFill>
                    <a:prstClr val="white"/>
                  </a:solidFill>
                  <a:latin typeface="+mj-lt"/>
                </a:rPr>
                <a:t/>
              </a:r>
              <a:r>
                <a:rPr kumimoji="0" lang="en-US" sz="1100" b="0" i="0" u="none" strike="noStrike" kern="1200" cap="none" spc="0" normalizeH="0" baseline="0" noProof="0" dirty="0">
                  <a:ln>
                    <a:noFill/>
                  </a:ln>
                  <a:solidFill>
                    <a:prstClr val="white"/>
                  </a:solidFill>
                  <a:effectLst/>
                  <a:uLnTx/>
                  <a:uFillTx/>
                  <a:latin typeface="+mj-lt"/>
                </a:rPr>
                <a:t/>
              </a:r>
            </a:p>
          </p:txBody>
        </p:sp>
      </p:grpSp>
      <p:grpSp>
        <p:nvGrpSpPr>
          <p:cNvPr id="1028" name="Group 1027">
            <a:extLst>
              <a:ext uri="{FF2B5EF4-FFF2-40B4-BE49-F238E27FC236}">
                <a16:creationId xmlns:a16="http://schemas.microsoft.com/office/drawing/2014/main" id="{3DD59AF6-2EB5-BBDC-1946-56CB294B3107}"/>
              </a:ext>
            </a:extLst>
          </p:cNvPr>
          <p:cNvGrpSpPr/>
          <p:nvPr/>
        </p:nvGrpSpPr>
        <p:grpSpPr>
          <a:xfrm>
            <a:off x="557784" y="9657178"/>
            <a:ext cx="5742433" cy="200055"/>
            <a:chOff x="521207" y="9718138"/>
            <a:chExt cx="5742433" cy="200055"/>
          </a:xfrm>
        </p:grpSpPr>
        <p:sp>
          <p:nvSpPr>
            <p:cNvPr id="28" name="TextBox 27">
              <a:extLst>
                <a:ext uri="{FF2B5EF4-FFF2-40B4-BE49-F238E27FC236}">
                  <a16:creationId xmlns:a16="http://schemas.microsoft.com/office/drawing/2014/main" id="{B97B2B1B-BA91-F37A-E742-A01AA6A6DC42}"/>
                </a:ext>
              </a:extLst>
            </p:cNvPr>
            <p:cNvSpPr txBox="1"/>
            <p:nvPr/>
          </p:nvSpPr>
          <p:spPr>
            <a:xfrm>
              <a:off x="521207" y="9718138"/>
              <a:ext cx="5742433" cy="200055"/>
            </a:xfrm>
            <a:prstGeom prst="rect">
              <a:avLst/>
            </a:prstGeom>
            <a:noFill/>
          </p:spPr>
          <p:txBody>
            <a:bodyPr wrap="square" rtlCol="0">
              <a:spAutoFit/>
            </a:bodyPr>
            <a:lstStyle/>
            <a:p>
              <a:pPr algn="ctr"/>
              <a:r>
                <a:rPr lang="en-US" sz="700" dirty="0">
                  <a:solidFill>
                    <a:schemeClr val="bg1"/>
                  </a:solidFill>
                  <a:latin typeface="Helvetica" panose="020B0604020202020204" pitchFamily="34" charset="0"/>
                  <a:cs typeface="Helvetica" panose="020B0604020202020204" pitchFamily="34" charset="0"/>
                  <a:hlinkClick r:id="rId5">
                    <a:extLst>
                      <a:ext uri="{A12FA001-AC4F-418D-AE19-62706E023703}">
                        <ahyp:hlinkClr xmlns:ahyp="http://schemas.microsoft.com/office/drawing/2018/hyperlinkcolor" val="tx"/>
                      </a:ext>
                    </a:extLst>
                  </a:hlinkClick>
                </a:rPr>
                <a:t>assetmanagement@kukulacapital.com </a:t>
              </a:r>
              <a:r>
                <a:rPr lang="en-US" sz="700" dirty="0">
                  <a:solidFill>
                    <a:schemeClr val="bg1"/>
                  </a:solidFill>
                  <a:latin typeface="Helvetica" panose="020B0604020202020204" pitchFamily="34" charset="0"/>
                  <a:cs typeface="Helvetica" panose="020B0604020202020204" pitchFamily="34" charset="0"/>
                </a:rPr>
                <a:t>        </a:t>
              </a:r>
              <a:r>
                <a:rPr lang="en-US" sz="700" dirty="0">
                  <a:solidFill>
                    <a:schemeClr val="bg1"/>
                  </a:solidFill>
                  <a:latin typeface="Helvetica" panose="020B0604020202020204" pitchFamily="34" charset="0"/>
                  <a:cs typeface="Helvetica" panose="020B0604020202020204" pitchFamily="34" charset="0"/>
                  <a:hlinkClick r:id="rId6">
                    <a:extLst>
                      <a:ext uri="{A12FA001-AC4F-418D-AE19-62706E023703}">
                        <ahyp:hlinkClr xmlns:ahyp="http://schemas.microsoft.com/office/drawing/2018/hyperlinkcolor" val="tx"/>
                      </a:ext>
                    </a:extLst>
                  </a:hlinkClick>
                </a:rPr>
                <a:t>www.kukulacapital.com</a:t>
              </a:r>
              <a:r>
                <a:rPr lang="en-US" sz="700" dirty="0">
                  <a:solidFill>
                    <a:schemeClr val="bg1"/>
                  </a:solidFill>
                  <a:latin typeface="Helvetica" panose="020B0604020202020204" pitchFamily="34" charset="0"/>
                  <a:cs typeface="Helvetica" panose="020B0604020202020204" pitchFamily="34" charset="0"/>
                </a:rPr>
                <a:t>        </a:t>
              </a:r>
              <a:r>
                <a:rPr lang="en-ZA" sz="700" b="0" i="0" u="none" strike="noStrike" dirty="0">
                  <a:solidFill>
                    <a:schemeClr val="bg1"/>
                  </a:solidFill>
                  <a:effectLst/>
                  <a:latin typeface="Helvetica" panose="020B0604020202020204" pitchFamily="34" charset="0"/>
                  <a:cs typeface="Helvetica" panose="020B0604020202020204" pitchFamily="34" charset="0"/>
                  <a:hlinkClick r:id="rId7">
                    <a:extLst>
                      <a:ext uri="{A12FA001-AC4F-418D-AE19-62706E023703}">
                        <ahyp:hlinkClr xmlns:ahyp="http://schemas.microsoft.com/office/drawing/2018/hyperlinkcolor" val="tx"/>
                      </a:ext>
                    </a:extLst>
                  </a:hlinkClick>
                </a:rPr>
                <a:t>+260 954 715 547</a:t>
              </a:r>
              <a:endParaRPr lang="en-ZA" sz="700" dirty="0">
                <a:solidFill>
                  <a:schemeClr val="bg1"/>
                </a:solidFill>
                <a:latin typeface="Helvetica" panose="020B0604020202020204" pitchFamily="34" charset="0"/>
                <a:cs typeface="Helvetica" panose="020B0604020202020204" pitchFamily="34" charset="0"/>
              </a:endParaRPr>
            </a:p>
          </p:txBody>
        </p:sp>
        <p:pic>
          <p:nvPicPr>
            <p:cNvPr id="62" name="Graphic 61">
              <a:extLst>
                <a:ext uri="{FF2B5EF4-FFF2-40B4-BE49-F238E27FC236}">
                  <a16:creationId xmlns:a16="http://schemas.microsoft.com/office/drawing/2014/main" id="{2980813D-CD81-C5D4-8BD2-291F366C9C8D}"/>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1407940" y="9746165"/>
              <a:ext cx="144000" cy="144000"/>
            </a:xfrm>
            <a:prstGeom prst="rect">
              <a:avLst/>
            </a:prstGeom>
          </p:spPr>
        </p:pic>
        <p:pic>
          <p:nvPicPr>
            <p:cNvPr id="1025" name="Graphic 1024">
              <a:extLst>
                <a:ext uri="{FF2B5EF4-FFF2-40B4-BE49-F238E27FC236}">
                  <a16:creationId xmlns:a16="http://schemas.microsoft.com/office/drawing/2014/main" id="{D4E92CE4-9E2D-8959-0803-502A3BE40143}"/>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3168967" y="9746165"/>
              <a:ext cx="144000" cy="144000"/>
            </a:xfrm>
            <a:prstGeom prst="rect">
              <a:avLst/>
            </a:prstGeom>
          </p:spPr>
        </p:pic>
        <p:pic>
          <p:nvPicPr>
            <p:cNvPr id="1026" name="Graphic 1025">
              <a:extLst>
                <a:ext uri="{FF2B5EF4-FFF2-40B4-BE49-F238E27FC236}">
                  <a16:creationId xmlns:a16="http://schemas.microsoft.com/office/drawing/2014/main" id="{45A9599C-17B7-D351-6F19-AC0975E58EF8}"/>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4292173" y="9746164"/>
              <a:ext cx="144000" cy="144000"/>
            </a:xfrm>
            <a:prstGeom prst="rect">
              <a:avLst/>
            </a:prstGeom>
          </p:spPr>
        </p:pic>
      </p:grpSp>
      <p:sp>
        <p:nvSpPr>
          <p:cNvPr id="1041" name="Rectangle 1040">
            <a:extLst>
              <a:ext uri="{FF2B5EF4-FFF2-40B4-BE49-F238E27FC236}">
                <a16:creationId xmlns:a16="http://schemas.microsoft.com/office/drawing/2014/main" id="{66535381-6AAA-A590-D2C9-0F970FA09C0E}"/>
              </a:ext>
            </a:extLst>
          </p:cNvPr>
          <p:cNvSpPr/>
          <p:nvPr/>
        </p:nvSpPr>
        <p:spPr>
          <a:xfrm>
            <a:off x="292608" y="1013780"/>
            <a:ext cx="3082392" cy="6932515"/>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5" name="Rectangle 1044">
            <a:extLst>
              <a:ext uri="{FF2B5EF4-FFF2-40B4-BE49-F238E27FC236}">
                <a16:creationId xmlns:a16="http://schemas.microsoft.com/office/drawing/2014/main" id="{47D763D0-6FAD-8EE8-5747-014CE2FE63D1}"/>
              </a:ext>
            </a:extLst>
          </p:cNvPr>
          <p:cNvSpPr/>
          <p:nvPr/>
        </p:nvSpPr>
        <p:spPr>
          <a:xfrm>
            <a:off x="292608" y="8054295"/>
            <a:ext cx="6272784" cy="1571288"/>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6" name="Rectangle 1045">
            <a:extLst>
              <a:ext uri="{FF2B5EF4-FFF2-40B4-BE49-F238E27FC236}">
                <a16:creationId xmlns:a16="http://schemas.microsoft.com/office/drawing/2014/main" id="{240151D1-83A6-A968-8252-EFE1718B8892}"/>
              </a:ext>
            </a:extLst>
          </p:cNvPr>
          <p:cNvSpPr/>
          <p:nvPr/>
        </p:nvSpPr>
        <p:spPr>
          <a:xfrm>
            <a:off x="6565392" y="9625583"/>
            <a:ext cx="292608" cy="292609"/>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bg1"/>
                </a:solidFill>
              </a:rPr>
              <a:t>2</a:t>
            </a:r>
            <a:endParaRPr lang="en-GB" sz="1200" dirty="0">
              <a:solidFill>
                <a:schemeClr val="bg1"/>
              </a:solidFill>
            </a:endParaRPr>
          </a:p>
        </p:txBody>
      </p:sp>
      <p:sp>
        <p:nvSpPr>
          <p:cNvPr id="1048" name="Rectangle 1047">
            <a:extLst>
              <a:ext uri="{FF2B5EF4-FFF2-40B4-BE49-F238E27FC236}">
                <a16:creationId xmlns:a16="http://schemas.microsoft.com/office/drawing/2014/main" id="{5E3C658C-B662-59DF-3EA8-7451A48DEC92}"/>
              </a:ext>
            </a:extLst>
          </p:cNvPr>
          <p:cNvSpPr/>
          <p:nvPr/>
        </p:nvSpPr>
        <p:spPr>
          <a:xfrm>
            <a:off x="3483000" y="1013780"/>
            <a:ext cx="3082392" cy="6932515"/>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grpSp>
        <p:nvGrpSpPr>
          <p:cNvPr id="1087" name="Group 1086">
            <a:extLst>
              <a:ext uri="{FF2B5EF4-FFF2-40B4-BE49-F238E27FC236}">
                <a16:creationId xmlns:a16="http://schemas.microsoft.com/office/drawing/2014/main" id="{CFF97540-2FAA-CB80-9EE6-18FC939AD2A7}"/>
              </a:ext>
            </a:extLst>
          </p:cNvPr>
          <p:cNvGrpSpPr/>
          <p:nvPr/>
        </p:nvGrpSpPr>
        <p:grpSpPr>
          <a:xfrm>
            <a:off x="292608" y="1013780"/>
            <a:ext cx="3082392" cy="232459"/>
            <a:chOff x="292608" y="1013780"/>
            <a:chExt cx="3082392" cy="232459"/>
          </a:xfrm>
        </p:grpSpPr>
        <p:cxnSp>
          <p:nvCxnSpPr>
            <p:cNvPr id="1049" name="Straight Connector 1048">
              <a:extLst>
                <a:ext uri="{FF2B5EF4-FFF2-40B4-BE49-F238E27FC236}">
                  <a16:creationId xmlns:a16="http://schemas.microsoft.com/office/drawing/2014/main" id="{2AA1BD25-3799-3F95-0DE9-9F59A9A36D09}"/>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50" name="Rectangle 1049">
              <a:extLst>
                <a:ext uri="{FF2B5EF4-FFF2-40B4-BE49-F238E27FC236}">
                  <a16:creationId xmlns:a16="http://schemas.microsoft.com/office/drawing/2014/main" id="{7DE8908D-2D00-1C15-18BA-CBC986C795FF}"/>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Distribution per sector</a:t>
              </a:r>
              <a:endParaRPr lang="en-GB" sz="1000" b="1" dirty="0">
                <a:solidFill>
                  <a:schemeClr val="bg1"/>
                </a:solidFill>
                <a:latin typeface="Bierstadt"/>
              </a:endParaRPr>
            </a:p>
          </p:txBody>
        </p:sp>
      </p:grpSp>
      <p:grpSp>
        <p:nvGrpSpPr>
          <p:cNvPr id="1117" name="Group 1116">
            <a:extLst>
              <a:ext uri="{FF2B5EF4-FFF2-40B4-BE49-F238E27FC236}">
                <a16:creationId xmlns:a16="http://schemas.microsoft.com/office/drawing/2014/main" id="{B2136F99-9273-3C06-2EAB-3252A341E5A3}"/>
              </a:ext>
            </a:extLst>
          </p:cNvPr>
          <p:cNvGrpSpPr/>
          <p:nvPr/>
        </p:nvGrpSpPr>
        <p:grpSpPr>
          <a:xfrm>
            <a:off x="3483000" y="1013780"/>
            <a:ext cx="3082392" cy="232459"/>
            <a:chOff x="292608" y="1013780"/>
            <a:chExt cx="3082392" cy="232459"/>
          </a:xfrm>
        </p:grpSpPr>
        <p:cxnSp>
          <p:nvCxnSpPr>
            <p:cNvPr id="1118" name="Straight Connector 1117">
              <a:extLst>
                <a:ext uri="{FF2B5EF4-FFF2-40B4-BE49-F238E27FC236}">
                  <a16:creationId xmlns:a16="http://schemas.microsoft.com/office/drawing/2014/main" id="{417D1884-0E28-3C02-8058-8055782D66C8}"/>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9" name="Rectangle 1118">
              <a:extLst>
                <a:ext uri="{FF2B5EF4-FFF2-40B4-BE49-F238E27FC236}">
                  <a16:creationId xmlns:a16="http://schemas.microsoft.com/office/drawing/2014/main" id="{C94E1CCC-1EB6-B73E-CDC7-DAD9477FC9F7}"/>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Distrubution per region</a:t>
              </a:r>
              <a:endParaRPr lang="en-GB" sz="1000" b="1" dirty="0">
                <a:solidFill>
                  <a:schemeClr val="bg1"/>
                </a:solidFill>
                <a:latin typeface="Bierstadt"/>
              </a:endParaRPr>
            </a:p>
          </p:txBody>
        </p:sp>
      </p:grpSp>
      <p:grpSp>
        <p:nvGrpSpPr>
          <p:cNvPr id="4" name="Group 3">
            <a:extLst>
              <a:ext uri="{FF2B5EF4-FFF2-40B4-BE49-F238E27FC236}">
                <a16:creationId xmlns:a16="http://schemas.microsoft.com/office/drawing/2014/main" id="{AB4B8C69-4066-D9CE-BBBE-2CCB91AE5ED8}"/>
              </a:ext>
            </a:extLst>
          </p:cNvPr>
          <p:cNvGrpSpPr/>
          <p:nvPr/>
        </p:nvGrpSpPr>
        <p:grpSpPr>
          <a:xfrm>
            <a:off x="292608" y="8054295"/>
            <a:ext cx="6272784" cy="232459"/>
            <a:chOff x="292608" y="6853356"/>
            <a:chExt cx="6272784" cy="232459"/>
          </a:xfrm>
        </p:grpSpPr>
        <p:sp>
          <p:nvSpPr>
            <p:cNvPr id="2" name="Rectangle 1">
              <a:extLst>
                <a:ext uri="{FF2B5EF4-FFF2-40B4-BE49-F238E27FC236}">
                  <a16:creationId xmlns:a16="http://schemas.microsoft.com/office/drawing/2014/main" id="{C3028533-FFA0-8969-1B38-84E8E0A5D661}"/>
                </a:ext>
              </a:extLst>
            </p:cNvPr>
            <p:cNvSpPr/>
            <p:nvPr/>
          </p:nvSpPr>
          <p:spPr>
            <a:xfrm>
              <a:off x="292608" y="6853356"/>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Disclaimer</a:t>
              </a:r>
            </a:p>
          </p:txBody>
        </p:sp>
        <p:cxnSp>
          <p:nvCxnSpPr>
            <p:cNvPr id="3" name="Straight Connector 2">
              <a:extLst>
                <a:ext uri="{FF2B5EF4-FFF2-40B4-BE49-F238E27FC236}">
                  <a16:creationId xmlns:a16="http://schemas.microsoft.com/office/drawing/2014/main" id="{D9F15FCC-4748-D4D1-90AA-0B77FBBD60A4}"/>
                </a:ext>
              </a:extLst>
            </p:cNvPr>
            <p:cNvCxnSpPr/>
            <p:nvPr/>
          </p:nvCxnSpPr>
          <p:spPr>
            <a:xfrm>
              <a:off x="292608" y="7085815"/>
              <a:ext cx="6272784"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099FCF1D-8887-3256-ED6F-1006081DF865}"/>
              </a:ext>
            </a:extLst>
          </p:cNvPr>
          <p:cNvSpPr txBox="1"/>
          <p:nvPr/>
        </p:nvSpPr>
        <p:spPr>
          <a:xfrm>
            <a:off x="292608" y="8286755"/>
            <a:ext cx="6272784" cy="1338828"/>
          </a:xfrm>
          <a:prstGeom prst="rect">
            <a:avLst/>
          </a:prstGeom>
          <a:noFill/>
        </p:spPr>
        <p:txBody>
          <a:bodyPr wrap="square" rtlCol="0">
            <a:spAutoFit/>
          </a:bodyPr>
          <a:lstStyle/>
          <a:p>
            <a:pPr algn="just"/>
            <a:r>
              <a:rPr lang="en-US" sz="900" b="0" i="0" u="none" strike="noStrike" baseline="0" dirty="0">
                <a:solidFill>
                  <a:schemeClr val="bg1"/>
                </a:solidFill>
                <a:latin typeface="Bierstadt" panose="020B0004020202020204" pitchFamily="34" charset="0"/>
                <a:cs typeface="Helvetica" panose="020B0604020202020204" pitchFamily="34" charset="0"/>
              </a:rPr>
              <a:t>This document should not be seen as an offer to purchase any specific product and is not to be construed as advice or guidance in any form whatsoever. Investors are encouraged to obtain independent professional investment and taxation advice before investing with or in any of Kukula’s Asset Management products. Kukula Capital reserves the right to close the portfolio to new investors and reopen certain portfolios</a:t>
            </a:r>
            <a:r>
              <a:rPr lang="en-US" sz="900" dirty="0">
                <a:solidFill>
                  <a:schemeClr val="bg1"/>
                </a:solidFill>
                <a:latin typeface="Bierstadt" panose="020B0004020202020204" pitchFamily="34" charset="0"/>
                <a:cs typeface="Helvetica" panose="020B0604020202020204" pitchFamily="34" charset="0"/>
              </a:rPr>
              <a:t> </a:t>
            </a:r>
            <a:r>
              <a:rPr lang="en-US" sz="900" b="0" i="0" u="none" strike="noStrike" baseline="0" dirty="0">
                <a:solidFill>
                  <a:schemeClr val="bg1"/>
                </a:solidFill>
                <a:latin typeface="Bierstadt" panose="020B0004020202020204" pitchFamily="34" charset="0"/>
                <a:cs typeface="Helvetica" panose="020B0604020202020204" pitchFamily="34" charset="0"/>
              </a:rPr>
              <a:t>from time to time in order to manage them more efficiently. Investments in foreign securities may include additional risks such as potential constraints on liquidity and repatriation </a:t>
            </a:r>
            <a:r>
              <a:rPr lang="en-ZA" sz="900" b="0" i="0" u="none" strike="noStrike" baseline="0" dirty="0">
                <a:solidFill>
                  <a:schemeClr val="bg1"/>
                </a:solidFill>
                <a:latin typeface="Bierstadt" panose="020B0004020202020204" pitchFamily="34" charset="0"/>
                <a:cs typeface="Helvetica" panose="020B0604020202020204" pitchFamily="34" charset="0"/>
              </a:rPr>
              <a:t>of funds, macroeconomic risk, political risk, foreign exchange risk, tax risk, settlement risk as well as potential limitations on the availability of market information. </a:t>
            </a:r>
            <a:r>
              <a:rPr lang="en-US" sz="900" b="0" i="0" u="none" strike="noStrike" baseline="0" dirty="0">
                <a:solidFill>
                  <a:schemeClr val="bg1"/>
                </a:solidFill>
                <a:latin typeface="Bierstadt" panose="020B0004020202020204" pitchFamily="34" charset="0"/>
                <a:cs typeface="Helvetica" panose="020B0604020202020204" pitchFamily="34" charset="0"/>
              </a:rPr>
              <a:t>Past performance is not an indication of future performance. </a:t>
            </a:r>
          </a:p>
          <a:p>
            <a:pPr algn="just"/>
            <a:endParaRPr lang="en-US" sz="900" dirty="0">
              <a:solidFill>
                <a:schemeClr val="bg1"/>
              </a:solidFill>
              <a:latin typeface="Bierstadt" panose="020B0004020202020204" pitchFamily="34" charset="0"/>
              <a:cs typeface="Helvetica" panose="020B0604020202020204" pitchFamily="34" charset="0"/>
            </a:endParaRPr>
          </a:p>
          <a:p>
            <a:pPr algn="just"/>
            <a:r>
              <a:rPr lang="en-US" sz="900" dirty="0">
                <a:solidFill>
                  <a:schemeClr val="bg1"/>
                </a:solidFill>
                <a:latin typeface="Bierstadt" panose="020B0004020202020204" pitchFamily="34" charset="0"/>
                <a:cs typeface="Helvetica" panose="020B0604020202020204" pitchFamily="34" charset="0"/>
              </a:rPr>
              <a:t>Kukula Capital is a Fund Manager regulated by the Securities and Exchange Commission of Zambia </a:t>
            </a:r>
          </a:p>
        </p:txBody>
      </p:sp>
      <p:grpSp>
        <p:nvGrpSpPr>
          <p:cNvPr id="12" name="Group 11">
            <a:extLst>
              <a:ext uri="{FF2B5EF4-FFF2-40B4-BE49-F238E27FC236}">
                <a16:creationId xmlns:a16="http://schemas.microsoft.com/office/drawing/2014/main" id="{EA26CCA3-2673-1AFB-06B3-C4434358EFD0}"/>
              </a:ext>
            </a:extLst>
          </p:cNvPr>
          <p:cNvGrpSpPr/>
          <p:nvPr/>
        </p:nvGrpSpPr>
        <p:grpSpPr>
          <a:xfrm>
            <a:off x="2393997" y="2543287"/>
            <a:ext cx="735748" cy="325575"/>
            <a:chOff x="2387480" y="2325829"/>
            <a:chExt cx="890255" cy="393946"/>
          </a:xfrm>
        </p:grpSpPr>
        <p:sp>
          <p:nvSpPr>
            <p:cNvPr id="10" name="Rectangle 9">
              <a:extLst>
                <a:ext uri="{FF2B5EF4-FFF2-40B4-BE49-F238E27FC236}">
                  <a16:creationId xmlns:a16="http://schemas.microsoft.com/office/drawing/2014/main" id="{2AE094CA-474D-B279-5ED1-A5109E8B9776}"/>
                </a:ext>
              </a:extLst>
            </p:cNvPr>
            <p:cNvSpPr/>
            <p:nvPr/>
          </p:nvSpPr>
          <p:spPr>
            <a:xfrm>
              <a:off x="2387480" y="2549361"/>
              <a:ext cx="890255" cy="170414"/>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Technology</a:t>
              </a:r>
              <a:endParaRPr lang="en-GB" sz="600" dirty="0">
                <a:solidFill>
                  <a:schemeClr val="bg1"/>
                </a:solidFill>
                <a:latin typeface="Bierstadt" panose="020B0004020202020204" pitchFamily="34" charset="0"/>
              </a:endParaRPr>
            </a:p>
          </p:txBody>
        </p:sp>
        <p:pic>
          <p:nvPicPr>
            <p:cNvPr id="11" name="Graphic 10">
              <a:extLst>
                <a:ext uri="{FF2B5EF4-FFF2-40B4-BE49-F238E27FC236}">
                  <a16:creationId xmlns:a16="http://schemas.microsoft.com/office/drawing/2014/main" id="{013EC465-3A3D-5632-C448-047BF928C021}"/>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2720841" y="2325829"/>
              <a:ext cx="223532" cy="223532"/>
            </a:xfrm>
            <a:prstGeom prst="rect">
              <a:avLst/>
            </a:prstGeom>
          </p:spPr>
        </p:pic>
      </p:grpSp>
      <p:sp>
        <p:nvSpPr>
          <p:cNvPr id="14" name="Rectangle 13">
            <a:extLst>
              <a:ext uri="{FF2B5EF4-FFF2-40B4-BE49-F238E27FC236}">
                <a16:creationId xmlns:a16="http://schemas.microsoft.com/office/drawing/2014/main" id="{C83E3CF8-292A-D39F-1EEA-8C791AEB34B6}"/>
              </a:ext>
            </a:extLst>
          </p:cNvPr>
          <p:cNvSpPr/>
          <p:nvPr/>
        </p:nvSpPr>
        <p:spPr>
          <a:xfrm>
            <a:off x="1008626" y="3476575"/>
            <a:ext cx="800319"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onsumer staples</a:t>
            </a:r>
            <a:endParaRPr lang="en-GB" sz="600" dirty="0">
              <a:solidFill>
                <a:schemeClr val="bg1"/>
              </a:solidFill>
              <a:latin typeface="Bierstadt" panose="020B0004020202020204" pitchFamily="34" charset="0"/>
            </a:endParaRPr>
          </a:p>
        </p:txBody>
      </p:sp>
      <p:pic>
        <p:nvPicPr>
          <p:cNvPr id="40" name="Graphic 39">
            <a:extLst>
              <a:ext uri="{FF2B5EF4-FFF2-40B4-BE49-F238E27FC236}">
                <a16:creationId xmlns:a16="http://schemas.microsoft.com/office/drawing/2014/main" id="{1A099470-3542-E97C-417C-3C9AA76149FA}"/>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1316417" y="3291837"/>
            <a:ext cx="184737" cy="184737"/>
          </a:xfrm>
          <a:prstGeom prst="rect">
            <a:avLst/>
          </a:prstGeom>
        </p:spPr>
      </p:pic>
      <p:sp>
        <p:nvSpPr>
          <p:cNvPr id="17" name="Rectangle 16">
            <a:extLst>
              <a:ext uri="{FF2B5EF4-FFF2-40B4-BE49-F238E27FC236}">
                <a16:creationId xmlns:a16="http://schemas.microsoft.com/office/drawing/2014/main" id="{72EC8E88-2904-9494-D729-847B8159229B}"/>
              </a:ext>
            </a:extLst>
          </p:cNvPr>
          <p:cNvSpPr/>
          <p:nvPr/>
        </p:nvSpPr>
        <p:spPr>
          <a:xfrm>
            <a:off x="353099" y="2700030"/>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Materials</a:t>
            </a:r>
            <a:endParaRPr lang="en-GB" sz="600" dirty="0">
              <a:solidFill>
                <a:schemeClr val="bg1"/>
              </a:solidFill>
              <a:latin typeface="Bierstadt" panose="020B0004020202020204" pitchFamily="34" charset="0"/>
            </a:endParaRPr>
          </a:p>
        </p:txBody>
      </p:sp>
      <p:pic>
        <p:nvPicPr>
          <p:cNvPr id="41" name="Graphic 40">
            <a:extLst>
              <a:ext uri="{FF2B5EF4-FFF2-40B4-BE49-F238E27FC236}">
                <a16:creationId xmlns:a16="http://schemas.microsoft.com/office/drawing/2014/main" id="{39234BC4-F8AD-3BFC-BEA9-9A918A0E608B}"/>
              </a:ext>
            </a:extLst>
          </p:cNvPr>
          <p:cNvPicPr>
            <a:picLocks/>
          </p:cNvPicPr>
          <p:nvPr/>
        </p:nvPicPr>
        <p:blipFill>
          <a:blip r:embed="rId18">
            <a:extLst>
              <a:ext uri="{96DAC541-7B7A-43D3-8B79-37D633B846F1}">
                <asvg:svgBlip xmlns:asvg="http://schemas.microsoft.com/office/drawing/2016/SVG/main" r:embed="rId19"/>
              </a:ext>
            </a:extLst>
          </a:blip>
          <a:stretch>
            <a:fillRect/>
          </a:stretch>
        </p:blipFill>
        <p:spPr>
          <a:xfrm>
            <a:off x="628604" y="2515293"/>
            <a:ext cx="184737" cy="184737"/>
          </a:xfrm>
          <a:prstGeom prst="rect">
            <a:avLst/>
          </a:prstGeom>
        </p:spPr>
      </p:pic>
      <p:grpSp>
        <p:nvGrpSpPr>
          <p:cNvPr id="43" name="Group 42">
            <a:extLst>
              <a:ext uri="{FF2B5EF4-FFF2-40B4-BE49-F238E27FC236}">
                <a16:creationId xmlns:a16="http://schemas.microsoft.com/office/drawing/2014/main" id="{7EF4A4B5-327E-213A-0A92-2A9077E3ECA7}"/>
              </a:ext>
            </a:extLst>
          </p:cNvPr>
          <p:cNvGrpSpPr/>
          <p:nvPr/>
        </p:nvGrpSpPr>
        <p:grpSpPr>
          <a:xfrm>
            <a:off x="314139" y="1934099"/>
            <a:ext cx="735749" cy="325575"/>
            <a:chOff x="405579" y="1934099"/>
            <a:chExt cx="735749" cy="325575"/>
          </a:xfrm>
        </p:grpSpPr>
        <p:sp>
          <p:nvSpPr>
            <p:cNvPr id="20" name="Rectangle 19">
              <a:extLst>
                <a:ext uri="{FF2B5EF4-FFF2-40B4-BE49-F238E27FC236}">
                  <a16:creationId xmlns:a16="http://schemas.microsoft.com/office/drawing/2014/main" id="{C430CF63-0430-AB16-D38F-57BD98609CA3}"/>
                </a:ext>
              </a:extLst>
            </p:cNvPr>
            <p:cNvSpPr/>
            <p:nvPr/>
          </p:nvSpPr>
          <p:spPr>
            <a:xfrm>
              <a:off x="405579" y="2118836"/>
              <a:ext cx="735749"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600" dirty="0">
                  <a:solidFill>
                    <a:schemeClr val="bg1"/>
                  </a:solidFill>
                  <a:latin typeface="Bierstadt" panose="020B0004020202020204" pitchFamily="34" charset="0"/>
                </a:rPr>
                <a:t>Financial services</a:t>
              </a:r>
              <a:endParaRPr lang="en-GB" sz="600" dirty="0">
                <a:solidFill>
                  <a:schemeClr val="bg1"/>
                </a:solidFill>
                <a:latin typeface="Bierstadt" panose="020B0004020202020204" pitchFamily="34" charset="0"/>
              </a:endParaRPr>
            </a:p>
          </p:txBody>
        </p:sp>
        <p:pic>
          <p:nvPicPr>
            <p:cNvPr id="42" name="Graphic 41">
              <a:extLst>
                <a:ext uri="{FF2B5EF4-FFF2-40B4-BE49-F238E27FC236}">
                  <a16:creationId xmlns:a16="http://schemas.microsoft.com/office/drawing/2014/main" id="{0774DE06-6ECB-63EB-ABE7-8520BE1F0C53}"/>
                </a:ext>
              </a:extLst>
            </p:cNvPr>
            <p:cNvPicPr>
              <a:picLocks/>
            </p:cNvPicPr>
            <p:nvPr/>
          </p:nvPicPr>
          <p:blipFill>
            <a:blip r:embed="rId20">
              <a:extLst>
                <a:ext uri="{96DAC541-7B7A-43D3-8B79-37D633B846F1}">
                  <asvg:svgBlip xmlns:asvg="http://schemas.microsoft.com/office/drawing/2016/SVG/main" r:embed="rId21"/>
                </a:ext>
              </a:extLst>
            </a:blip>
            <a:stretch>
              <a:fillRect/>
            </a:stretch>
          </p:blipFill>
          <p:spPr>
            <a:xfrm>
              <a:off x="681085" y="1934099"/>
              <a:ext cx="184737" cy="184737"/>
            </a:xfrm>
            <a:prstGeom prst="rect">
              <a:avLst/>
            </a:prstGeom>
          </p:spPr>
        </p:pic>
      </p:grpSp>
      <p:sp>
        <p:nvSpPr>
          <p:cNvPr id="25" name="Rectangle 24">
            <a:extLst>
              <a:ext uri="{FF2B5EF4-FFF2-40B4-BE49-F238E27FC236}">
                <a16:creationId xmlns:a16="http://schemas.microsoft.com/office/drawing/2014/main" id="{220F02E8-61FC-9ABE-2D55-99A17C0C29F7}"/>
              </a:ext>
            </a:extLst>
          </p:cNvPr>
          <p:cNvSpPr/>
          <p:nvPr/>
        </p:nvSpPr>
        <p:spPr>
          <a:xfrm>
            <a:off x="690304" y="1716818"/>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Healthcare</a:t>
            </a:r>
            <a:endParaRPr lang="en-GB" sz="600" dirty="0">
              <a:solidFill>
                <a:schemeClr val="bg1"/>
              </a:solidFill>
              <a:latin typeface="Bierstadt" panose="020B0004020202020204" pitchFamily="34" charset="0"/>
            </a:endParaRPr>
          </a:p>
        </p:txBody>
      </p:sp>
      <p:pic>
        <p:nvPicPr>
          <p:cNvPr id="44" name="Graphic 43">
            <a:extLst>
              <a:ext uri="{FF2B5EF4-FFF2-40B4-BE49-F238E27FC236}">
                <a16:creationId xmlns:a16="http://schemas.microsoft.com/office/drawing/2014/main" id="{C0B4EA05-F62F-5EF7-3AE6-8D70CA2A6DEB}"/>
              </a:ext>
            </a:extLst>
          </p:cNvPr>
          <p:cNvPicPr>
            <a:picLocks/>
          </p:cNvPicPr>
          <p:nvPr/>
        </p:nvPicPr>
        <p:blipFill>
          <a:blip r:embed="rId22">
            <a:extLst>
              <a:ext uri="{96DAC541-7B7A-43D3-8B79-37D633B846F1}">
                <asvg:svgBlip xmlns:asvg="http://schemas.microsoft.com/office/drawing/2016/SVG/main" r:embed="rId23"/>
              </a:ext>
            </a:extLst>
          </a:blip>
          <a:stretch>
            <a:fillRect/>
          </a:stretch>
        </p:blipFill>
        <p:spPr>
          <a:xfrm>
            <a:off x="965809" y="1532081"/>
            <a:ext cx="184737" cy="184737"/>
          </a:xfrm>
          <a:prstGeom prst="rect">
            <a:avLst/>
          </a:prstGeom>
        </p:spPr>
      </p:pic>
      <p:sp>
        <p:nvSpPr>
          <p:cNvPr id="29" name="Rectangle 28">
            <a:extLst>
              <a:ext uri="{FF2B5EF4-FFF2-40B4-BE49-F238E27FC236}">
                <a16:creationId xmlns:a16="http://schemas.microsoft.com/office/drawing/2014/main" id="{E66AF298-75C9-C2BC-ED2A-4C925FD60E1A}"/>
              </a:ext>
            </a:extLst>
          </p:cNvPr>
          <p:cNvSpPr/>
          <p:nvPr/>
        </p:nvSpPr>
        <p:spPr>
          <a:xfrm>
            <a:off x="1040913" y="1509579"/>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Utilities</a:t>
            </a:r>
            <a:endParaRPr lang="en-GB" sz="600" dirty="0">
              <a:solidFill>
                <a:schemeClr val="bg1"/>
              </a:solidFill>
              <a:latin typeface="Bierstadt" panose="020B0004020202020204" pitchFamily="34" charset="0"/>
            </a:endParaRPr>
          </a:p>
        </p:txBody>
      </p:sp>
      <p:pic>
        <p:nvPicPr>
          <p:cNvPr id="46" name="Graphic 45">
            <a:extLst>
              <a:ext uri="{FF2B5EF4-FFF2-40B4-BE49-F238E27FC236}">
                <a16:creationId xmlns:a16="http://schemas.microsoft.com/office/drawing/2014/main" id="{4203E42F-EE76-D8C5-2ADD-589AA92D7668}"/>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a:off x="1316418" y="1324842"/>
            <a:ext cx="184737" cy="184737"/>
          </a:xfrm>
          <a:prstGeom prst="rect">
            <a:avLst/>
          </a:prstGeom>
        </p:spPr>
      </p:pic>
      <p:sp>
        <p:nvSpPr>
          <p:cNvPr id="32" name="Rectangle 31">
            <a:extLst>
              <a:ext uri="{FF2B5EF4-FFF2-40B4-BE49-F238E27FC236}">
                <a16:creationId xmlns:a16="http://schemas.microsoft.com/office/drawing/2014/main" id="{C8B6BF94-46A7-2023-C325-E3D166F5E203}"/>
              </a:ext>
            </a:extLst>
          </p:cNvPr>
          <p:cNvSpPr/>
          <p:nvPr/>
        </p:nvSpPr>
        <p:spPr>
          <a:xfrm>
            <a:off x="1444517" y="1477509"/>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ash</a:t>
            </a:r>
            <a:endParaRPr lang="en-GB" sz="600" dirty="0">
              <a:solidFill>
                <a:schemeClr val="bg1"/>
              </a:solidFill>
              <a:latin typeface="Bierstadt" panose="020B0004020202020204" pitchFamily="34" charset="0"/>
            </a:endParaRPr>
          </a:p>
        </p:txBody>
      </p:sp>
      <p:pic>
        <p:nvPicPr>
          <p:cNvPr id="47" name="Graphic 46">
            <a:extLst>
              <a:ext uri="{FF2B5EF4-FFF2-40B4-BE49-F238E27FC236}">
                <a16:creationId xmlns:a16="http://schemas.microsoft.com/office/drawing/2014/main" id="{B7CB9195-F8E2-043A-D295-449E46E3EBB9}"/>
              </a:ext>
            </a:extLst>
          </p:cNvPr>
          <p:cNvPicPr>
            <a:picLocks/>
          </p:cNvPicPr>
          <p:nvPr/>
        </p:nvPicPr>
        <p:blipFill>
          <a:blip r:embed="rId26">
            <a:extLst>
              <a:ext uri="{96DAC541-7B7A-43D3-8B79-37D633B846F1}">
                <asvg:svgBlip xmlns:asvg="http://schemas.microsoft.com/office/drawing/2016/SVG/main" r:embed="rId27"/>
              </a:ext>
            </a:extLst>
          </a:blip>
          <a:stretch>
            <a:fillRect/>
          </a:stretch>
        </p:blipFill>
        <p:spPr>
          <a:xfrm>
            <a:off x="1720022" y="1292772"/>
            <a:ext cx="184737" cy="184737"/>
          </a:xfrm>
          <a:prstGeom prst="rect">
            <a:avLst/>
          </a:prstGeom>
        </p:spPr>
      </p:pic>
      <p:sp>
        <p:nvSpPr>
          <p:cNvPr id="35" name="Rectangle 34">
            <a:extLst>
              <a:ext uri="{FF2B5EF4-FFF2-40B4-BE49-F238E27FC236}">
                <a16:creationId xmlns:a16="http://schemas.microsoft.com/office/drawing/2014/main" id="{419AAB4D-B941-7415-902C-E1485893A00D}"/>
              </a:ext>
            </a:extLst>
          </p:cNvPr>
          <p:cNvSpPr/>
          <p:nvPr/>
        </p:nvSpPr>
        <p:spPr>
          <a:xfrm>
            <a:off x="1841231" y="1550270"/>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Transportation</a:t>
            </a:r>
            <a:endParaRPr lang="en-GB" sz="600" dirty="0">
              <a:solidFill>
                <a:schemeClr val="bg1"/>
              </a:solidFill>
              <a:latin typeface="Bierstadt" panose="020B0004020202020204" pitchFamily="34" charset="0"/>
            </a:endParaRPr>
          </a:p>
        </p:txBody>
      </p:sp>
      <p:pic>
        <p:nvPicPr>
          <p:cNvPr id="48" name="Graphic 47">
            <a:extLst>
              <a:ext uri="{FF2B5EF4-FFF2-40B4-BE49-F238E27FC236}">
                <a16:creationId xmlns:a16="http://schemas.microsoft.com/office/drawing/2014/main" id="{BDAFF7B7-207D-4703-3CE0-069C0B3A5B25}"/>
              </a:ext>
            </a:extLst>
          </p:cNvPr>
          <p:cNvPicPr>
            <a:picLocks/>
          </p:cNvPicPr>
          <p:nvPr/>
        </p:nvPicPr>
        <p:blipFill>
          <a:blip r:embed="rId28">
            <a:extLst>
              <a:ext uri="{96DAC541-7B7A-43D3-8B79-37D633B846F1}">
                <asvg:svgBlip xmlns:asvg="http://schemas.microsoft.com/office/drawing/2016/SVG/main" r:embed="rId29"/>
              </a:ext>
            </a:extLst>
          </a:blip>
          <a:stretch>
            <a:fillRect/>
          </a:stretch>
        </p:blipFill>
        <p:spPr>
          <a:xfrm>
            <a:off x="2116736" y="1365533"/>
            <a:ext cx="184737" cy="184737"/>
          </a:xfrm>
          <a:prstGeom prst="rect">
            <a:avLst/>
          </a:prstGeom>
        </p:spPr>
      </p:pic>
      <p:sp>
        <p:nvSpPr>
          <p:cNvPr id="38" name="Rectangle 37">
            <a:extLst>
              <a:ext uri="{FF2B5EF4-FFF2-40B4-BE49-F238E27FC236}">
                <a16:creationId xmlns:a16="http://schemas.microsoft.com/office/drawing/2014/main" id="{EA112802-2A42-169C-131E-DBF1F5A1882B}"/>
              </a:ext>
            </a:extLst>
          </p:cNvPr>
          <p:cNvSpPr/>
          <p:nvPr/>
        </p:nvSpPr>
        <p:spPr>
          <a:xfrm>
            <a:off x="2242320" y="1750827"/>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onsumer discretionary</a:t>
            </a:r>
            <a:endParaRPr lang="en-GB" sz="600" dirty="0">
              <a:solidFill>
                <a:schemeClr val="bg1"/>
              </a:solidFill>
              <a:latin typeface="Bierstadt" panose="020B0004020202020204" pitchFamily="34" charset="0"/>
            </a:endParaRPr>
          </a:p>
        </p:txBody>
      </p:sp>
      <p:pic>
        <p:nvPicPr>
          <p:cNvPr id="49" name="Graphic 48">
            <a:extLst>
              <a:ext uri="{FF2B5EF4-FFF2-40B4-BE49-F238E27FC236}">
                <a16:creationId xmlns:a16="http://schemas.microsoft.com/office/drawing/2014/main" id="{A8E15041-4912-B3D8-0150-F4D6E30D422C}"/>
              </a:ext>
            </a:extLst>
          </p:cNvPr>
          <p:cNvPicPr>
            <a:picLocks/>
          </p:cNvPicPr>
          <p:nvPr/>
        </p:nvPicPr>
        <p:blipFill>
          <a:blip r:embed="rId30">
            <a:extLst>
              <a:ext uri="{96DAC541-7B7A-43D3-8B79-37D633B846F1}">
                <asvg:svgBlip xmlns:asvg="http://schemas.microsoft.com/office/drawing/2016/SVG/main" r:embed="rId31"/>
              </a:ext>
            </a:extLst>
          </a:blip>
          <a:stretch>
            <a:fillRect/>
          </a:stretch>
        </p:blipFill>
        <p:spPr>
          <a:xfrm>
            <a:off x="2517825" y="1550850"/>
            <a:ext cx="184737" cy="184737"/>
          </a:xfrm>
          <a:prstGeom prst="rect">
            <a:avLst/>
          </a:prstGeom>
        </p:spPr>
      </p:pic>
      <p:sp>
        <p:nvSpPr>
          <p:cNvPr id="55" name="Rectangle 54">
            <a:extLst>
              <a:ext uri="{FF2B5EF4-FFF2-40B4-BE49-F238E27FC236}">
                <a16:creationId xmlns:a16="http://schemas.microsoft.com/office/drawing/2014/main" id="{740F6A28-57EB-1294-4ACF-DC51AE132108}"/>
              </a:ext>
            </a:extLst>
          </p:cNvPr>
          <p:cNvSpPr/>
          <p:nvPr/>
        </p:nvSpPr>
        <p:spPr>
          <a:xfrm>
            <a:off x="5073650" y="1661181"/>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Europe</a:t>
            </a:r>
            <a:endParaRPr lang="en-GB" sz="600" dirty="0">
              <a:solidFill>
                <a:schemeClr val="bg1"/>
              </a:solidFill>
              <a:latin typeface="Bierstadt" panose="020B0004020202020204" pitchFamily="34" charset="0"/>
            </a:endParaRPr>
          </a:p>
        </p:txBody>
      </p:sp>
      <p:pic>
        <p:nvPicPr>
          <p:cNvPr id="57" name="Graphic 56">
            <a:extLst>
              <a:ext uri="{FF2B5EF4-FFF2-40B4-BE49-F238E27FC236}">
                <a16:creationId xmlns:a16="http://schemas.microsoft.com/office/drawing/2014/main" id="{FDDA8EE5-2B07-55E1-BF0F-20D8DDAFFA87}"/>
              </a:ext>
            </a:extLst>
          </p:cNvPr>
          <p:cNvPicPr>
            <a:picLocks/>
          </p:cNvPicPr>
          <p:nvPr/>
        </p:nvPicPr>
        <p:blipFill>
          <a:blip r:embed="rId32">
            <a:extLst>
              <a:ext uri="{96DAC541-7B7A-43D3-8B79-37D633B846F1}">
                <asvg:svgBlip xmlns:asvg="http://schemas.microsoft.com/office/drawing/2016/SVG/main" r:embed="rId33"/>
              </a:ext>
            </a:extLst>
          </a:blip>
          <a:stretch>
            <a:fillRect/>
          </a:stretch>
        </p:blipFill>
        <p:spPr>
          <a:xfrm>
            <a:off x="5349154" y="1476444"/>
            <a:ext cx="184737" cy="184737"/>
          </a:xfrm>
          <a:prstGeom prst="rect">
            <a:avLst/>
          </a:prstGeom>
        </p:spPr>
      </p:pic>
      <p:grpSp>
        <p:nvGrpSpPr>
          <p:cNvPr id="1030" name="Group 1029">
            <a:extLst>
              <a:ext uri="{FF2B5EF4-FFF2-40B4-BE49-F238E27FC236}">
                <a16:creationId xmlns:a16="http://schemas.microsoft.com/office/drawing/2014/main" id="{A8340488-64B7-353C-A4FA-EB2260E5A373}"/>
              </a:ext>
            </a:extLst>
          </p:cNvPr>
          <p:cNvGrpSpPr/>
          <p:nvPr/>
        </p:nvGrpSpPr>
        <p:grpSpPr>
          <a:xfrm>
            <a:off x="5358370" y="3243826"/>
            <a:ext cx="735748" cy="325575"/>
            <a:chOff x="5358370" y="3243826"/>
            <a:chExt cx="735748" cy="325575"/>
          </a:xfrm>
        </p:grpSpPr>
        <p:sp>
          <p:nvSpPr>
            <p:cNvPr id="63" name="Rectangle 62">
              <a:extLst>
                <a:ext uri="{FF2B5EF4-FFF2-40B4-BE49-F238E27FC236}">
                  <a16:creationId xmlns:a16="http://schemas.microsoft.com/office/drawing/2014/main" id="{D482A90D-6D02-1D17-FA7C-5DE0F2E90558}"/>
                </a:ext>
              </a:extLst>
            </p:cNvPr>
            <p:cNvSpPr/>
            <p:nvPr/>
          </p:nvSpPr>
          <p:spPr>
            <a:xfrm>
              <a:off x="5358370" y="3428563"/>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North America</a:t>
              </a:r>
              <a:endParaRPr lang="en-GB" sz="600" dirty="0">
                <a:solidFill>
                  <a:schemeClr val="bg1"/>
                </a:solidFill>
                <a:latin typeface="Bierstadt" panose="020B0004020202020204" pitchFamily="34" charset="0"/>
              </a:endParaRPr>
            </a:p>
          </p:txBody>
        </p:sp>
        <p:pic>
          <p:nvPicPr>
            <p:cNvPr id="1029" name="Graphic 1028">
              <a:extLst>
                <a:ext uri="{FF2B5EF4-FFF2-40B4-BE49-F238E27FC236}">
                  <a16:creationId xmlns:a16="http://schemas.microsoft.com/office/drawing/2014/main" id="{E2B42250-64A3-D359-636C-59A0C70156BE}"/>
                </a:ext>
              </a:extLst>
            </p:cNvPr>
            <p:cNvPicPr>
              <a:picLocks/>
            </p:cNvPicPr>
            <p:nvPr/>
          </p:nvPicPr>
          <p:blipFill>
            <a:blip r:embed="rId34">
              <a:extLst>
                <a:ext uri="{96DAC541-7B7A-43D3-8B79-37D633B846F1}">
                  <asvg:svgBlip xmlns:asvg="http://schemas.microsoft.com/office/drawing/2016/SVG/main" r:embed="rId35"/>
                </a:ext>
              </a:extLst>
            </a:blip>
            <a:stretch>
              <a:fillRect/>
            </a:stretch>
          </p:blipFill>
          <p:spPr>
            <a:xfrm>
              <a:off x="5633874" y="3243826"/>
              <a:ext cx="184737" cy="184737"/>
            </a:xfrm>
            <a:prstGeom prst="rect">
              <a:avLst/>
            </a:prstGeom>
          </p:spPr>
        </p:pic>
      </p:grpSp>
      <p:grpSp>
        <p:nvGrpSpPr>
          <p:cNvPr id="1052" name="Group 1051">
            <a:extLst>
              <a:ext uri="{FF2B5EF4-FFF2-40B4-BE49-F238E27FC236}">
                <a16:creationId xmlns:a16="http://schemas.microsoft.com/office/drawing/2014/main" id="{78763AB0-C349-B79C-A03F-AB6515B09F9E}"/>
              </a:ext>
            </a:extLst>
          </p:cNvPr>
          <p:cNvGrpSpPr/>
          <p:nvPr/>
        </p:nvGrpSpPr>
        <p:grpSpPr>
          <a:xfrm>
            <a:off x="3849920" y="1676988"/>
            <a:ext cx="735748" cy="325575"/>
            <a:chOff x="3849920" y="1676988"/>
            <a:chExt cx="735748" cy="325575"/>
          </a:xfrm>
        </p:grpSpPr>
        <p:sp>
          <p:nvSpPr>
            <p:cNvPr id="1040" name="Rectangle 1039">
              <a:extLst>
                <a:ext uri="{FF2B5EF4-FFF2-40B4-BE49-F238E27FC236}">
                  <a16:creationId xmlns:a16="http://schemas.microsoft.com/office/drawing/2014/main" id="{8140B58C-FFE8-09D7-3025-F54F241DEC50}"/>
                </a:ext>
              </a:extLst>
            </p:cNvPr>
            <p:cNvSpPr/>
            <p:nvPr/>
          </p:nvSpPr>
          <p:spPr>
            <a:xfrm>
              <a:off x="3849920" y="1861725"/>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Africa</a:t>
              </a:r>
              <a:endParaRPr lang="en-GB" sz="600" dirty="0">
                <a:solidFill>
                  <a:schemeClr val="bg1"/>
                </a:solidFill>
                <a:latin typeface="Bierstadt" panose="020B0004020202020204" pitchFamily="34" charset="0"/>
              </a:endParaRPr>
            </a:p>
          </p:txBody>
        </p:sp>
        <p:pic>
          <p:nvPicPr>
            <p:cNvPr id="1047" name="Graphic 1046">
              <a:extLst>
                <a:ext uri="{FF2B5EF4-FFF2-40B4-BE49-F238E27FC236}">
                  <a16:creationId xmlns:a16="http://schemas.microsoft.com/office/drawing/2014/main" id="{E6C27167-7703-52AC-C12E-EF8DF5777C68}"/>
                </a:ext>
              </a:extLst>
            </p:cNvPr>
            <p:cNvPicPr>
              <a:picLocks/>
            </p:cNvPicPr>
            <p:nvPr/>
          </p:nvPicPr>
          <p:blipFill>
            <a:blip r:embed="rId36">
              <a:extLst>
                <a:ext uri="{96DAC541-7B7A-43D3-8B79-37D633B846F1}">
                  <asvg:svgBlip xmlns:asvg="http://schemas.microsoft.com/office/drawing/2016/SVG/main" r:embed="rId37"/>
                </a:ext>
              </a:extLst>
            </a:blip>
            <a:stretch>
              <a:fillRect/>
            </a:stretch>
          </p:blipFill>
          <p:spPr>
            <a:xfrm>
              <a:off x="4125424" y="1676988"/>
              <a:ext cx="184737" cy="184737"/>
            </a:xfrm>
            <a:prstGeom prst="rect">
              <a:avLst/>
            </a:prstGeom>
          </p:spPr>
        </p:pic>
      </p:grpSp>
      <p:sp>
        <p:nvSpPr>
          <p:cNvPr id="1054" name="Rectangle 1053">
            <a:extLst>
              <a:ext uri="{FF2B5EF4-FFF2-40B4-BE49-F238E27FC236}">
                <a16:creationId xmlns:a16="http://schemas.microsoft.com/office/drawing/2014/main" id="{E670BFE6-5EAD-AD52-40EE-C97CB4030485}"/>
              </a:ext>
            </a:extLst>
          </p:cNvPr>
          <p:cNvSpPr/>
          <p:nvPr/>
        </p:nvSpPr>
        <p:spPr>
          <a:xfrm>
            <a:off x="4246187" y="1632115"/>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Asia</a:t>
            </a:r>
            <a:endParaRPr lang="en-GB" sz="600" dirty="0">
              <a:solidFill>
                <a:schemeClr val="bg1"/>
              </a:solidFill>
              <a:latin typeface="Bierstadt" panose="020B0004020202020204" pitchFamily="34" charset="0"/>
            </a:endParaRPr>
          </a:p>
        </p:txBody>
      </p:sp>
      <p:pic>
        <p:nvPicPr>
          <p:cNvPr id="1056" name="Graphic 1055">
            <a:extLst>
              <a:ext uri="{FF2B5EF4-FFF2-40B4-BE49-F238E27FC236}">
                <a16:creationId xmlns:a16="http://schemas.microsoft.com/office/drawing/2014/main" id="{C5A91157-E375-7D55-19B6-5C6117A61521}"/>
              </a:ext>
            </a:extLst>
          </p:cNvPr>
          <p:cNvPicPr>
            <a:picLocks/>
          </p:cNvPicPr>
          <p:nvPr/>
        </p:nvPicPr>
        <p:blipFill>
          <a:blip r:embed="rId38">
            <a:extLst>
              <a:ext uri="{96DAC541-7B7A-43D3-8B79-37D633B846F1}">
                <asvg:svgBlip xmlns:asvg="http://schemas.microsoft.com/office/drawing/2016/SVG/main" r:embed="rId39"/>
              </a:ext>
            </a:extLst>
          </a:blip>
          <a:stretch>
            <a:fillRect/>
          </a:stretch>
        </p:blipFill>
        <p:spPr>
          <a:xfrm>
            <a:off x="4521691" y="1447378"/>
            <a:ext cx="184737" cy="184737"/>
          </a:xfrm>
          <a:prstGeom prst="rect">
            <a:avLst/>
          </a:prstGeom>
        </p:spPr>
      </p:pic>
      <p:grpSp>
        <p:nvGrpSpPr>
          <p:cNvPr id="1060" name="Group 1059">
            <a:extLst>
              <a:ext uri="{FF2B5EF4-FFF2-40B4-BE49-F238E27FC236}">
                <a16:creationId xmlns:a16="http://schemas.microsoft.com/office/drawing/2014/main" id="{31DEC152-21BC-7FC7-95A1-E0E2AEA6116E}"/>
              </a:ext>
            </a:extLst>
          </p:cNvPr>
          <p:cNvGrpSpPr/>
          <p:nvPr/>
        </p:nvGrpSpPr>
        <p:grpSpPr>
          <a:xfrm>
            <a:off x="4625791" y="1431219"/>
            <a:ext cx="735748" cy="325575"/>
            <a:chOff x="4677380" y="1385489"/>
            <a:chExt cx="735748" cy="325575"/>
          </a:xfrm>
        </p:grpSpPr>
        <p:sp>
          <p:nvSpPr>
            <p:cNvPr id="1058" name="Rectangle 1057">
              <a:extLst>
                <a:ext uri="{FF2B5EF4-FFF2-40B4-BE49-F238E27FC236}">
                  <a16:creationId xmlns:a16="http://schemas.microsoft.com/office/drawing/2014/main" id="{02792C57-F4BB-6B65-0A94-5602A2656D53}"/>
                </a:ext>
              </a:extLst>
            </p:cNvPr>
            <p:cNvSpPr/>
            <p:nvPr/>
          </p:nvSpPr>
          <p:spPr>
            <a:xfrm>
              <a:off x="4677380" y="1570226"/>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ash</a:t>
              </a:r>
              <a:endParaRPr lang="en-GB" sz="600" dirty="0">
                <a:solidFill>
                  <a:schemeClr val="bg1"/>
                </a:solidFill>
                <a:latin typeface="Bierstadt" panose="020B0004020202020204" pitchFamily="34" charset="0"/>
              </a:endParaRPr>
            </a:p>
          </p:txBody>
        </p:sp>
        <p:pic>
          <p:nvPicPr>
            <p:cNvPr id="1057" name="Graphic 1056">
              <a:extLst>
                <a:ext uri="{FF2B5EF4-FFF2-40B4-BE49-F238E27FC236}">
                  <a16:creationId xmlns:a16="http://schemas.microsoft.com/office/drawing/2014/main" id="{1C0A7E55-3B59-5424-BAE3-4C1FBA0A7141}"/>
                </a:ext>
              </a:extLst>
            </p:cNvPr>
            <p:cNvPicPr>
              <a:picLocks/>
            </p:cNvPicPr>
            <p:nvPr/>
          </p:nvPicPr>
          <p:blipFill>
            <a:blip r:embed="rId40">
              <a:extLst>
                <a:ext uri="{96DAC541-7B7A-43D3-8B79-37D633B846F1}">
                  <asvg:svgBlip xmlns:asvg="http://schemas.microsoft.com/office/drawing/2016/SVG/main" r:embed="rId41"/>
                </a:ext>
              </a:extLst>
            </a:blip>
            <a:stretch>
              <a:fillRect/>
            </a:stretch>
          </p:blipFill>
          <p:spPr>
            <a:xfrm>
              <a:off x="4952884" y="1385489"/>
              <a:ext cx="184737" cy="184737"/>
            </a:xfrm>
            <a:prstGeom prst="rect">
              <a:avLst/>
            </a:prstGeom>
          </p:spPr>
        </p:pic>
      </p:grpSp>
      <p:grpSp>
        <p:nvGrpSpPr>
          <p:cNvPr id="1061" name="Group 1060">
            <a:extLst>
              <a:ext uri="{FF2B5EF4-FFF2-40B4-BE49-F238E27FC236}">
                <a16:creationId xmlns:a16="http://schemas.microsoft.com/office/drawing/2014/main" id="{A6015B47-B30C-5FD6-A378-0F254AC0BA3C}"/>
              </a:ext>
            </a:extLst>
          </p:cNvPr>
          <p:cNvGrpSpPr/>
          <p:nvPr/>
        </p:nvGrpSpPr>
        <p:grpSpPr>
          <a:xfrm>
            <a:off x="292608" y="3645819"/>
            <a:ext cx="3082392" cy="232459"/>
            <a:chOff x="292608" y="1013780"/>
            <a:chExt cx="3082392" cy="232459"/>
          </a:xfrm>
        </p:grpSpPr>
        <p:cxnSp>
          <p:nvCxnSpPr>
            <p:cNvPr id="1062" name="Straight Connector 1061">
              <a:extLst>
                <a:ext uri="{FF2B5EF4-FFF2-40B4-BE49-F238E27FC236}">
                  <a16:creationId xmlns:a16="http://schemas.microsoft.com/office/drawing/2014/main" id="{E9CCCF08-08C8-EE98-C7A9-80C44E445D69}"/>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76" name="COMMENTARY_HEADER">
              <a:extLst>
                <a:ext uri="{FF2B5EF4-FFF2-40B4-BE49-F238E27FC236}">
                  <a16:creationId xmlns:a16="http://schemas.microsoft.com/office/drawing/2014/main" id="{91E72E01-23BD-F919-ED88-608D6E5189CB}"/>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Manager’s commentary and outlook</a:t>
              </a:r>
              <a:endParaRPr lang="en-GB" sz="1000" b="1" dirty="0">
                <a:solidFill>
                  <a:schemeClr val="bg1"/>
                </a:solidFill>
                <a:latin typeface="Bierstadt"/>
              </a:endParaRPr>
            </a:p>
          </p:txBody>
        </p:sp>
      </p:grpSp>
      <p:grpSp>
        <p:nvGrpSpPr>
          <p:cNvPr id="1077" name="Group 1076">
            <a:extLst>
              <a:ext uri="{FF2B5EF4-FFF2-40B4-BE49-F238E27FC236}">
                <a16:creationId xmlns:a16="http://schemas.microsoft.com/office/drawing/2014/main" id="{63B74288-F5DE-C540-D92A-62BFE1FE6B0E}"/>
              </a:ext>
            </a:extLst>
          </p:cNvPr>
          <p:cNvGrpSpPr/>
          <p:nvPr/>
        </p:nvGrpSpPr>
        <p:grpSpPr>
          <a:xfrm>
            <a:off x="3483000" y="3645819"/>
            <a:ext cx="3082392" cy="232459"/>
            <a:chOff x="292608" y="1013780"/>
            <a:chExt cx="3082392" cy="232459"/>
          </a:xfrm>
        </p:grpSpPr>
        <p:cxnSp>
          <p:nvCxnSpPr>
            <p:cNvPr id="1078" name="Straight Connector 1077">
              <a:extLst>
                <a:ext uri="{FF2B5EF4-FFF2-40B4-BE49-F238E27FC236}">
                  <a16:creationId xmlns:a16="http://schemas.microsoft.com/office/drawing/2014/main" id="{36B6E2A3-6B9B-7AEB-B920-3CE8677854C2}"/>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79" name="Rectangle 1078">
              <a:extLst>
                <a:ext uri="{FF2B5EF4-FFF2-40B4-BE49-F238E27FC236}">
                  <a16:creationId xmlns:a16="http://schemas.microsoft.com/office/drawing/2014/main" id="{AD98B1AA-B101-E926-80DD-6DFD60DE89D2}"/>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Fee details</a:t>
              </a:r>
              <a:endParaRPr lang="en-GB" sz="1000" b="1" dirty="0">
                <a:solidFill>
                  <a:schemeClr val="bg1"/>
                </a:solidFill>
                <a:latin typeface="Bierstadt"/>
              </a:endParaRPr>
            </a:p>
          </p:txBody>
        </p:sp>
      </p:grpSp>
      <p:sp>
        <p:nvSpPr>
          <p:cNvPr id="1080" name="COMMENTARY_TEXT">
            <a:extLst>
              <a:ext uri="{FF2B5EF4-FFF2-40B4-BE49-F238E27FC236}">
                <a16:creationId xmlns:a16="http://schemas.microsoft.com/office/drawing/2014/main" id="{323259A2-7335-3BC8-826B-B1452ECF431C}"/>
              </a:ext>
            </a:extLst>
          </p:cNvPr>
          <p:cNvSpPr txBox="1"/>
          <p:nvPr/>
        </p:nvSpPr>
        <p:spPr>
          <a:xfrm>
            <a:off x="292607" y="3878278"/>
            <a:ext cx="3082392" cy="3279600"/>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As of September 30, 2025, the portfolio has delivered a year-to-date return of 16.65%, outperforming the average annual compounded return of 9.06% since inception, while benchmark performance stands at 18.56% year-to-date. Key performance drivers include substantial contributions from our technology holdings, particularly in semiconductor and AI sectors, with top positions in TSMC and NVIDIA. However, recent market volatility, particularly a sharp decline in AI infrastructure stocks, highlights the risks associated with concentrated exposure in high-growth sectors.
Looking ahead, the investment landscape remains dynamic. While the technology sector continues to show promise, concerns regarding inflated valuations may lead to short-term corrections. The CIO of New York City's pension fund recently suggested that current market conditions reflect an "investment supercycle," which could provide a favorable backdrop for long-term growth. Nonetheless, we remain vigilant regarding macroeconomic factors, including potential shifts in interest rates and geopolitical developments that could impact market stability. Our diversified sector and regional allocations aim to mitigate</a:t>
            </a:r>
          </a:p>
        </p:txBody>
      </p:sp>
      <p:grpSp>
        <p:nvGrpSpPr>
          <p:cNvPr id="1082" name="Group 1081">
            <a:extLst>
              <a:ext uri="{FF2B5EF4-FFF2-40B4-BE49-F238E27FC236}">
                <a16:creationId xmlns:a16="http://schemas.microsoft.com/office/drawing/2014/main" id="{16F62F2C-8EDD-7F9A-6CCB-82CC6BC3FC03}"/>
              </a:ext>
            </a:extLst>
          </p:cNvPr>
          <p:cNvGrpSpPr/>
          <p:nvPr/>
        </p:nvGrpSpPr>
        <p:grpSpPr>
          <a:xfrm>
            <a:off x="292608" y="7156098"/>
            <a:ext cx="3082392" cy="232459"/>
            <a:chOff x="292608" y="1013780"/>
            <a:chExt cx="3082392" cy="232459"/>
          </a:xfrm>
        </p:grpSpPr>
        <p:cxnSp>
          <p:nvCxnSpPr>
            <p:cNvPr id="1083" name="Straight Connector 1082">
              <a:extLst>
                <a:ext uri="{FF2B5EF4-FFF2-40B4-BE49-F238E27FC236}">
                  <a16:creationId xmlns:a16="http://schemas.microsoft.com/office/drawing/2014/main" id="{60BE3819-D082-A639-351A-65CA062DC3D2}"/>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4" name="Rectangle 1083">
              <a:extLst>
                <a:ext uri="{FF2B5EF4-FFF2-40B4-BE49-F238E27FC236}">
                  <a16:creationId xmlns:a16="http://schemas.microsoft.com/office/drawing/2014/main" id="{E4D9E261-3588-EE68-8686-D487FFF50BF8}"/>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Investment platform</a:t>
              </a:r>
              <a:endParaRPr lang="en-GB" sz="1000" b="1" dirty="0">
                <a:solidFill>
                  <a:schemeClr val="bg1"/>
                </a:solidFill>
                <a:latin typeface="Bierstadt"/>
              </a:endParaRPr>
            </a:p>
          </p:txBody>
        </p:sp>
      </p:grpSp>
      <p:sp>
        <p:nvSpPr>
          <p:cNvPr id="1085" name="TextBox 1084">
            <a:extLst>
              <a:ext uri="{FF2B5EF4-FFF2-40B4-BE49-F238E27FC236}">
                <a16:creationId xmlns:a16="http://schemas.microsoft.com/office/drawing/2014/main" id="{7C2F41DD-E337-96EE-5548-96B24121BCEB}"/>
              </a:ext>
            </a:extLst>
          </p:cNvPr>
          <p:cNvSpPr txBox="1"/>
          <p:nvPr/>
        </p:nvSpPr>
        <p:spPr>
          <a:xfrm>
            <a:off x="292607" y="7388557"/>
            <a:ext cx="3082392" cy="507831"/>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Kukula uses the Saxo Bank/DMA platform. Investors are responsible for the associated platform fees and transaction costs. </a:t>
            </a:r>
          </a:p>
        </p:txBody>
      </p:sp>
      <p:grpSp>
        <p:nvGrpSpPr>
          <p:cNvPr id="1089" name="Group 1088">
            <a:extLst>
              <a:ext uri="{FF2B5EF4-FFF2-40B4-BE49-F238E27FC236}">
                <a16:creationId xmlns:a16="http://schemas.microsoft.com/office/drawing/2014/main" id="{7B8D818A-58BD-DE81-8D77-CDBA489AFA18}"/>
              </a:ext>
            </a:extLst>
          </p:cNvPr>
          <p:cNvGrpSpPr/>
          <p:nvPr/>
        </p:nvGrpSpPr>
        <p:grpSpPr>
          <a:xfrm>
            <a:off x="1794357" y="7746171"/>
            <a:ext cx="747129" cy="128203"/>
            <a:chOff x="1611477" y="7746171"/>
            <a:chExt cx="747129" cy="128203"/>
          </a:xfrm>
        </p:grpSpPr>
        <p:pic>
          <p:nvPicPr>
            <p:cNvPr id="1086" name="Picture 1085">
              <a:extLst>
                <a:ext uri="{FF2B5EF4-FFF2-40B4-BE49-F238E27FC236}">
                  <a16:creationId xmlns:a16="http://schemas.microsoft.com/office/drawing/2014/main" id="{D7283381-87BF-61DF-DFA2-2DCC78B785C3}"/>
                </a:ext>
              </a:extLst>
            </p:cNvPr>
            <p:cNvPicPr>
              <a:picLocks noChangeAspect="1"/>
            </p:cNvPicPr>
            <p:nvPr/>
          </p:nvPicPr>
          <p:blipFill>
            <a:blip r:embed="rId42">
              <a:extLst>
                <a:ext uri="{BEBA8EAE-BF5A-486C-A8C5-ECC9F3942E4B}">
                  <a14:imgProps xmlns:a14="http://schemas.microsoft.com/office/drawing/2010/main">
                    <a14:imgLayer r:embed="rId43">
                      <a14:imgEffect>
                        <a14:brightnessContrast bright="100000"/>
                      </a14:imgEffect>
                    </a14:imgLayer>
                  </a14:imgProps>
                </a:ext>
              </a:extLst>
            </a:blip>
            <a:stretch>
              <a:fillRect/>
            </a:stretch>
          </p:blipFill>
          <p:spPr>
            <a:xfrm>
              <a:off x="1611477" y="7746171"/>
              <a:ext cx="295284" cy="128203"/>
            </a:xfrm>
            <a:prstGeom prst="rect">
              <a:avLst/>
            </a:prstGeom>
          </p:spPr>
        </p:pic>
        <p:pic>
          <p:nvPicPr>
            <p:cNvPr id="1088" name="Picture 1087">
              <a:extLst>
                <a:ext uri="{FF2B5EF4-FFF2-40B4-BE49-F238E27FC236}">
                  <a16:creationId xmlns:a16="http://schemas.microsoft.com/office/drawing/2014/main" id="{1BBAF1CB-2454-4A7B-FC9F-F748A4F143F1}"/>
                </a:ext>
              </a:extLst>
            </p:cNvPr>
            <p:cNvPicPr>
              <a:picLocks noChangeAspect="1"/>
            </p:cNvPicPr>
            <p:nvPr/>
          </p:nvPicPr>
          <p:blipFill>
            <a:blip r:embed="rId44">
              <a:extLst>
                <a:ext uri="{BEBA8EAE-BF5A-486C-A8C5-ECC9F3942E4B}">
                  <a14:imgProps xmlns:a14="http://schemas.microsoft.com/office/drawing/2010/main">
                    <a14:imgLayer r:embed="rId45">
                      <a14:imgEffect>
                        <a14:brightnessContrast bright="100000"/>
                      </a14:imgEffect>
                    </a14:imgLayer>
                  </a14:imgProps>
                </a:ext>
              </a:extLst>
            </a:blip>
            <a:stretch>
              <a:fillRect/>
            </a:stretch>
          </p:blipFill>
          <p:spPr>
            <a:xfrm>
              <a:off x="2002893" y="7758968"/>
              <a:ext cx="355713" cy="102609"/>
            </a:xfrm>
            <a:prstGeom prst="rect">
              <a:avLst/>
            </a:prstGeom>
          </p:spPr>
        </p:pic>
      </p:grpSp>
      <p:sp>
        <p:nvSpPr>
          <p:cNvPr id="1090" name="TextBox 1089">
            <a:extLst>
              <a:ext uri="{FF2B5EF4-FFF2-40B4-BE49-F238E27FC236}">
                <a16:creationId xmlns:a16="http://schemas.microsoft.com/office/drawing/2014/main" id="{C10D8FCD-A37B-DDE8-B950-D8BD61E35EED}"/>
              </a:ext>
            </a:extLst>
          </p:cNvPr>
          <p:cNvSpPr txBox="1"/>
          <p:nvPr/>
        </p:nvSpPr>
        <p:spPr>
          <a:xfrm>
            <a:off x="3483000" y="3878278"/>
            <a:ext cx="3082392" cy="369332"/>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Portfolios are  managed on a discretionary basis and are subject to the following fees: </a:t>
            </a:r>
          </a:p>
        </p:txBody>
      </p:sp>
      <p:graphicFrame>
        <p:nvGraphicFramePr>
          <p:cNvPr id="1092" name="FEES_TABLE">
            <a:extLst>
              <a:ext uri="{FF2B5EF4-FFF2-40B4-BE49-F238E27FC236}">
                <a16:creationId xmlns:a16="http://schemas.microsoft.com/office/drawing/2014/main" id="{D1274BE3-4EFF-76CA-8ED5-C8EF8E1C3B53}"/>
              </a:ext>
            </a:extLst>
          </p:cNvPr>
          <p:cNvGraphicFramePr>
            <a:graphicFrameLocks noGrp="1"/>
          </p:cNvGraphicFramePr>
          <p:nvPr>
            <p:extLst>
              <p:ext uri="{D42A27DB-BD31-4B8C-83A1-F6EECF244321}">
                <p14:modId xmlns:p14="http://schemas.microsoft.com/office/powerpoint/2010/main" val="3458982352"/>
              </p:ext>
            </p:extLst>
          </p:nvPr>
        </p:nvGraphicFramePr>
        <p:xfrm>
          <a:off x="3483000" y="4282627"/>
          <a:ext cx="3082392" cy="1188720"/>
        </p:xfrm>
        <a:graphic>
          <a:graphicData uri="http://schemas.openxmlformats.org/drawingml/2006/table">
            <a:tbl>
              <a:tblPr firstRow="1" bandRow="1">
                <a:tableStyleId>{2D5ABB26-0587-4C30-8999-92F81FD0307C}</a:tableStyleId>
              </a:tblPr>
              <a:tblGrid>
                <a:gridCol w="2100103">
                  <a:extLst>
                    <a:ext uri="{9D8B030D-6E8A-4147-A177-3AD203B41FA5}">
                      <a16:colId xmlns:a16="http://schemas.microsoft.com/office/drawing/2014/main" val="787351053"/>
                    </a:ext>
                  </a:extLst>
                </a:gridCol>
                <a:gridCol w="982289">
                  <a:extLst>
                    <a:ext uri="{9D8B030D-6E8A-4147-A177-3AD203B41FA5}">
                      <a16:colId xmlns:a16="http://schemas.microsoft.com/office/drawing/2014/main" val="2002166547"/>
                    </a:ext>
                  </a:extLst>
                </a:gridCol>
              </a:tblGrid>
              <a:tr h="274320">
                <a:tc>
                  <a:txBody>
                    <a:bodyPr/>
                    <a:lstStyle/>
                    <a:p>
                      <a:r>
                        <a:rPr lang="en-US" sz="900" dirty="0">
                          <a:solidFill>
                            <a:schemeClr val="bg1"/>
                          </a:solidFill>
                        </a:rPr>
                        <a:t>Item</a:t>
                      </a:r>
                      <a:endParaRPr lang="en-GB" sz="900" dirty="0">
                        <a:solidFill>
                          <a:schemeClr val="bg1"/>
                        </a:solidFill>
                      </a:endParaRPr>
                    </a:p>
                  </a:txBody>
                  <a:tcPr/>
                </a:tc>
                <a:tc>
                  <a:txBody>
                    <a:bodyPr/>
                    <a:lstStyle/>
                    <a:p>
                      <a:pPr algn="ctr"/>
                      <a:r>
                        <a:rPr lang="en-GB" sz="900" dirty="0">
                          <a:solidFill>
                            <a:schemeClr val="bg1"/>
                          </a:solidFill>
                        </a:rPr>
                        <a:t>Value</a:t>
                      </a:r>
                    </a:p>
                  </a:txBody>
                  <a:tcPr/>
                </a:tc>
                <a:extLst>
                  <a:ext uri="{0D108BD9-81ED-4DB2-BD59-A6C34878D82A}">
                    <a16:rowId xmlns:a16="http://schemas.microsoft.com/office/drawing/2014/main" val="1221449719"/>
                  </a:ext>
                </a:extLst>
              </a:tr>
              <a:tr h="274320">
                <a:tc>
                  <a:txBody>
                    <a:bodyPr/>
                    <a:lstStyle/>
                    <a:p>
                      <a:r>
                        <a:rPr lang="en-GB" sz="900">
                          <a:solidFill>
                            <a:schemeClr val="bg1"/>
                          </a:solidFill>
                        </a:rPr>
                        <a:t>Annual Management Fee (Incl. VAT)</a:t>
                      </a:r>
                    </a:p>
                  </a:txBody>
                  <a:tcPr/>
                </a:tc>
                <a:tc>
                  <a:txBody>
                    <a:bodyPr/>
                    <a:lstStyle/>
                    <a:p>
                      <a:pPr algn="ctr"/>
                      <a:r>
                        <a:rPr lang="en-GB" sz="900">
                          <a:solidFill>
                            <a:schemeClr val="bg1"/>
                          </a:solidFill>
                        </a:rPr>
                        <a:t>1 %</a:t>
                      </a:r>
                    </a:p>
                  </a:txBody>
                  <a:tcPr/>
                </a:tc>
                <a:extLst>
                  <a:ext uri="{0D108BD9-81ED-4DB2-BD59-A6C34878D82A}">
                    <a16:rowId xmlns:a16="http://schemas.microsoft.com/office/drawing/2014/main" val="978931475"/>
                  </a:ext>
                </a:extLst>
              </a:tr>
              <a:tr h="274320">
                <a:tc>
                  <a:txBody>
                    <a:bodyPr/>
                    <a:lstStyle/>
                    <a:p>
                      <a:r>
                        <a:rPr lang="en-GB" sz="900">
                          <a:solidFill>
                            <a:schemeClr val="bg1"/>
                          </a:solidFill>
                        </a:rPr>
                        <a:t>Performance Fee</a:t>
                      </a:r>
                    </a:p>
                  </a:txBody>
                  <a:tcPr/>
                </a:tc>
                <a:tc>
                  <a:txBody>
                    <a:bodyPr/>
                    <a:lstStyle/>
                    <a:p>
                      <a:pPr algn="ctr"/>
                      <a:r>
                        <a:rPr lang="en-GB" sz="900">
                          <a:solidFill>
                            <a:schemeClr val="bg1"/>
                          </a:solidFill>
                        </a:rPr>
                        <a:t>None</a:t>
                      </a:r>
                    </a:p>
                  </a:txBody>
                  <a:tcPr/>
                </a:tc>
                <a:extLst>
                  <a:ext uri="{0D108BD9-81ED-4DB2-BD59-A6C34878D82A}">
                    <a16:rowId xmlns:a16="http://schemas.microsoft.com/office/drawing/2014/main" val="3512116622"/>
                  </a:ext>
                </a:extLst>
              </a:tr>
              <a:tr h="365760">
                <a:tc>
                  <a:txBody>
                    <a:bodyPr/>
                    <a:lstStyle/>
                    <a:p>
                      <a:r>
                        <a:rPr lang="en-GB" sz="900" dirty="0">
                          <a:solidFill>
                            <a:schemeClr val="bg1"/>
                          </a:solidFill>
                        </a:rPr>
                        <a:t>Transaction Costs &amp; Commissions</a:t>
                      </a:r>
                    </a:p>
                  </a:txBody>
                  <a:tcPr/>
                </a:tc>
                <a:tc>
                  <a:txBody>
                    <a:bodyPr/>
                    <a:lstStyle/>
                    <a:p>
                      <a:pPr algn="ctr"/>
                      <a:r>
                        <a:rPr lang="fi-FI" sz="900" dirty="0">
                          <a:solidFill>
                            <a:schemeClr val="bg1"/>
                          </a:solidFill>
                        </a:rPr>
                        <a:t>See schedule</a:t>
                      </a:r>
                      <a:endParaRPr lang="en-GB" sz="900" dirty="0">
                        <a:solidFill>
                          <a:schemeClr val="bg1"/>
                        </a:solidFill>
                      </a:endParaRPr>
                    </a:p>
                  </a:txBody>
                  <a:tcPr/>
                </a:tc>
                <a:extLst>
                  <a:ext uri="{0D108BD9-81ED-4DB2-BD59-A6C34878D82A}">
                    <a16:rowId xmlns:a16="http://schemas.microsoft.com/office/drawing/2014/main" val="775751832"/>
                  </a:ext>
                </a:extLst>
              </a:tr>
            </a:tbl>
          </a:graphicData>
        </a:graphic>
      </p:graphicFrame>
      <p:grpSp>
        <p:nvGrpSpPr>
          <p:cNvPr id="1093" name="Group 1092">
            <a:extLst>
              <a:ext uri="{FF2B5EF4-FFF2-40B4-BE49-F238E27FC236}">
                <a16:creationId xmlns:a16="http://schemas.microsoft.com/office/drawing/2014/main" id="{187DFE29-FCB0-4BE8-C371-3A8A6037B1EA}"/>
              </a:ext>
            </a:extLst>
          </p:cNvPr>
          <p:cNvGrpSpPr/>
          <p:nvPr/>
        </p:nvGrpSpPr>
        <p:grpSpPr>
          <a:xfrm>
            <a:off x="3483000" y="6681577"/>
            <a:ext cx="3082392" cy="232459"/>
            <a:chOff x="292608" y="1013780"/>
            <a:chExt cx="3082392" cy="232459"/>
          </a:xfrm>
        </p:grpSpPr>
        <p:cxnSp>
          <p:nvCxnSpPr>
            <p:cNvPr id="1094" name="Straight Connector 1093">
              <a:extLst>
                <a:ext uri="{FF2B5EF4-FFF2-40B4-BE49-F238E27FC236}">
                  <a16:creationId xmlns:a16="http://schemas.microsoft.com/office/drawing/2014/main" id="{8A053FAC-BB54-C262-46C1-72164E63F0EF}"/>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95" name="Rectangle 1094">
              <a:extLst>
                <a:ext uri="{FF2B5EF4-FFF2-40B4-BE49-F238E27FC236}">
                  <a16:creationId xmlns:a16="http://schemas.microsoft.com/office/drawing/2014/main" id="{253824F6-E8DB-AE96-9FCC-4482C5BC8A1E}"/>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Custody arrangement</a:t>
              </a:r>
              <a:endParaRPr lang="en-GB" sz="1000" b="1" dirty="0">
                <a:solidFill>
                  <a:schemeClr val="bg1"/>
                </a:solidFill>
                <a:latin typeface="Bierstadt"/>
              </a:endParaRPr>
            </a:p>
          </p:txBody>
        </p:sp>
      </p:grpSp>
      <p:sp>
        <p:nvSpPr>
          <p:cNvPr id="1096" name="TextBox 1095">
            <a:extLst>
              <a:ext uri="{FF2B5EF4-FFF2-40B4-BE49-F238E27FC236}">
                <a16:creationId xmlns:a16="http://schemas.microsoft.com/office/drawing/2014/main" id="{DC300D0E-2855-8FE4-958F-C4D783103B35}"/>
              </a:ext>
            </a:extLst>
          </p:cNvPr>
          <p:cNvSpPr txBox="1"/>
          <p:nvPr/>
        </p:nvSpPr>
        <p:spPr>
          <a:xfrm>
            <a:off x="3483000" y="6914036"/>
            <a:ext cx="3082392" cy="923330"/>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All securities are held with CITI Group in the name of Saxo Bank and segregated in the name of DMA Mauritius. A full sub-register is maintained for the beneficial owner of the assets, which are reported live via the available platforms. Positions are settled daily and reconciled against the custodian.</a:t>
            </a:r>
          </a:p>
        </p:txBody>
      </p:sp>
      <p:pic>
        <p:nvPicPr>
          <p:cNvPr id="1097" name="Picture 1096">
            <a:extLst>
              <a:ext uri="{FF2B5EF4-FFF2-40B4-BE49-F238E27FC236}">
                <a16:creationId xmlns:a16="http://schemas.microsoft.com/office/drawing/2014/main" id="{0034B60D-EAD9-43F5-0AC7-B3BF7ADD7D6C}"/>
              </a:ext>
            </a:extLst>
          </p:cNvPr>
          <p:cNvPicPr>
            <a:picLocks noChangeAspect="1"/>
          </p:cNvPicPr>
          <p:nvPr/>
        </p:nvPicPr>
        <p:blipFill>
          <a:blip r:embed="rId46">
            <a:extLst>
              <a:ext uri="{BEBA8EAE-BF5A-486C-A8C5-ECC9F3942E4B}">
                <a14:imgProps xmlns:a14="http://schemas.microsoft.com/office/drawing/2010/main">
                  <a14:imgLayer r:embed="rId47">
                    <a14:imgEffect>
                      <a14:brightnessContrast bright="100000"/>
                    </a14:imgEffect>
                  </a14:imgLayer>
                </a14:imgProps>
              </a:ext>
            </a:extLst>
          </a:blip>
          <a:stretch>
            <a:fillRect/>
          </a:stretch>
        </p:blipFill>
        <p:spPr>
          <a:xfrm>
            <a:off x="4176124" y="7694086"/>
            <a:ext cx="268440" cy="174381"/>
          </a:xfrm>
          <a:prstGeom prst="rect">
            <a:avLst/>
          </a:prstGeom>
        </p:spPr>
      </p:pic>
      <p:grpSp>
        <p:nvGrpSpPr>
          <p:cNvPr id="8" name="Group 7">
            <a:extLst>
              <a:ext uri="{FF2B5EF4-FFF2-40B4-BE49-F238E27FC236}">
                <a16:creationId xmlns:a16="http://schemas.microsoft.com/office/drawing/2014/main" id="{CA34CC3D-ECA9-657D-4BE5-07CA9BF1A4DF}"/>
              </a:ext>
            </a:extLst>
          </p:cNvPr>
          <p:cNvGrpSpPr/>
          <p:nvPr/>
        </p:nvGrpSpPr>
        <p:grpSpPr>
          <a:xfrm>
            <a:off x="3483000" y="5394543"/>
            <a:ext cx="3082392" cy="232459"/>
            <a:chOff x="292608" y="1013780"/>
            <a:chExt cx="3082392" cy="232459"/>
          </a:xfrm>
        </p:grpSpPr>
        <p:cxnSp>
          <p:nvCxnSpPr>
            <p:cNvPr id="9" name="Straight Connector 8">
              <a:extLst>
                <a:ext uri="{FF2B5EF4-FFF2-40B4-BE49-F238E27FC236}">
                  <a16:creationId xmlns:a16="http://schemas.microsoft.com/office/drawing/2014/main" id="{62287BB3-EB82-E44D-C789-987308439917}"/>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2993028-7690-328C-2008-71AD6E6070DF}"/>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Risk profile: Moderate to high</a:t>
              </a:r>
            </a:p>
          </p:txBody>
        </p:sp>
      </p:grpSp>
      <p:sp>
        <p:nvSpPr>
          <p:cNvPr id="15" name="TextBox 14">
            <a:extLst>
              <a:ext uri="{FF2B5EF4-FFF2-40B4-BE49-F238E27FC236}">
                <a16:creationId xmlns:a16="http://schemas.microsoft.com/office/drawing/2014/main" id="{BB650FBF-C6E6-1B4B-B096-B08DF6A76B9F}"/>
              </a:ext>
            </a:extLst>
          </p:cNvPr>
          <p:cNvSpPr txBox="1"/>
          <p:nvPr/>
        </p:nvSpPr>
        <p:spPr>
          <a:xfrm>
            <a:off x="3482999" y="5640856"/>
            <a:ext cx="3082392" cy="1061829"/>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The portfolio invests exclusively in equiti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Suitable for medium- to long-term investment horiz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Exposed to market risk and broader economic fluctua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Offshore holdings may introduce additional currency risk.</a:t>
            </a:r>
          </a:p>
        </p:txBody>
      </p:sp>
      <p:graphicFrame>
        <p:nvGraphicFramePr>
          <p:cNvPr id="19" name="PIE_SECTOR">
            <a:extLst>
              <a:ext uri="{FF2B5EF4-FFF2-40B4-BE49-F238E27FC236}">
                <a16:creationId xmlns:a16="http://schemas.microsoft.com/office/drawing/2014/main" id="{D2CBA324-1F53-F6AE-B7AD-2A492A5AEB03}"/>
              </a:ext>
            </a:extLst>
          </p:cNvPr>
          <p:cNvGraphicFramePr/>
          <p:nvPr>
            <p:extLst>
              <p:ext uri="{D42A27DB-BD31-4B8C-83A1-F6EECF244321}">
                <p14:modId xmlns:p14="http://schemas.microsoft.com/office/powerpoint/2010/main" val="2313099284"/>
              </p:ext>
            </p:extLst>
          </p:nvPr>
        </p:nvGraphicFramePr>
        <p:xfrm>
          <a:off x="179636" y="1369215"/>
          <a:ext cx="3308336" cy="2599281"/>
        </p:xfrm>
        <a:graphic>
          <a:graphicData uri="http://schemas.openxmlformats.org/drawingml/2006/chart">
            <c:chart xmlns:c="http://schemas.openxmlformats.org/drawingml/2006/chart" xmlns:r="http://schemas.openxmlformats.org/officeDocument/2006/relationships" r:id="rId48"/>
          </a:graphicData>
        </a:graphic>
      </p:graphicFrame>
      <p:graphicFrame>
        <p:nvGraphicFramePr>
          <p:cNvPr id="24" name="PIE_REGION">
            <a:extLst>
              <a:ext uri="{FF2B5EF4-FFF2-40B4-BE49-F238E27FC236}">
                <a16:creationId xmlns:a16="http://schemas.microsoft.com/office/drawing/2014/main" id="{5A1279A8-4FC1-1BCB-FBA4-B5D2FDD41E17}"/>
              </a:ext>
            </a:extLst>
          </p:cNvPr>
          <p:cNvGraphicFramePr/>
          <p:nvPr>
            <p:extLst>
              <p:ext uri="{D42A27DB-BD31-4B8C-83A1-F6EECF244321}">
                <p14:modId xmlns:p14="http://schemas.microsoft.com/office/powerpoint/2010/main" val="2252226221"/>
              </p:ext>
            </p:extLst>
          </p:nvPr>
        </p:nvGraphicFramePr>
        <p:xfrm>
          <a:off x="3370028" y="1369215"/>
          <a:ext cx="3308336" cy="2599281"/>
        </p:xfrm>
        <a:graphic>
          <a:graphicData uri="http://schemas.openxmlformats.org/drawingml/2006/chart">
            <c:chart xmlns:c="http://schemas.openxmlformats.org/drawingml/2006/chart" xmlns:r="http://schemas.openxmlformats.org/officeDocument/2006/relationships" r:id="rId49"/>
          </a:graphicData>
        </a:graphic>
      </p:graphicFrame>
    </p:spTree>
    <p:extLst>
      <p:ext uri="{BB962C8B-B14F-4D97-AF65-F5344CB8AC3E}">
        <p14:creationId xmlns:p14="http://schemas.microsoft.com/office/powerpoint/2010/main" val="23085601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Office Theme">
  <a:themeElements>
    <a:clrScheme name="Kukula capital">
      <a:dk1>
        <a:srgbClr val="000000"/>
      </a:dk1>
      <a:lt1>
        <a:srgbClr val="FFFFFF"/>
      </a:lt1>
      <a:dk2>
        <a:srgbClr val="A6A6A6"/>
      </a:dk2>
      <a:lt2>
        <a:srgbClr val="F2F2F2"/>
      </a:lt2>
      <a:accent1>
        <a:srgbClr val="466835"/>
      </a:accent1>
      <a:accent2>
        <a:srgbClr val="A6A6A6"/>
      </a:accent2>
      <a:accent3>
        <a:srgbClr val="F2F2F2"/>
      </a:accent3>
      <a:accent4>
        <a:srgbClr val="E2F0D9"/>
      </a:accent4>
      <a:accent5>
        <a:srgbClr val="549E39"/>
      </a:accent5>
      <a:accent6>
        <a:srgbClr val="385723"/>
      </a:accent6>
      <a:hlink>
        <a:srgbClr val="000000"/>
      </a:hlink>
      <a:folHlink>
        <a:srgbClr val="00000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C79DDE9-9681-4839-A726-05A6EE002B45}">
  <we:reference id="wa104381063" version="1.0.0.1" store="en-US" storeType="OMEX"/>
  <we:alternateReferences>
    <we:reference id="WA104381063" version="1.0.0.1" store="da-DK"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Office Theme</Template>
  <TotalTime>3443</TotalTime>
  <Words>1064</Words>
  <Application>Microsoft Office PowerPoint</Application>
  <PresentationFormat>A4 Paper (210x297 mm)</PresentationFormat>
  <Paragraphs>279</Paragraphs>
  <Slides>2</Slides>
  <Notes>2</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vt:i4>
      </vt:variant>
    </vt:vector>
  </HeadingPairs>
  <TitlesOfParts>
    <vt:vector size="9" baseType="lpstr">
      <vt:lpstr>Arial</vt:lpstr>
      <vt:lpstr>Bierstadt</vt:lpstr>
      <vt:lpstr>Calibri</vt:lpstr>
      <vt:lpstr>Calibri Light</vt:lpstr>
      <vt:lpstr>Helvetica</vt:lpstr>
      <vt:lpstr>Skeena</vt:lpstr>
      <vt:lpstr>Office Them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cus Bak</dc:creator>
  <cp:lastModifiedBy>Henning Olweus - Implement Consulting Group</cp:lastModifiedBy>
  <cp:revision>22</cp:revision>
  <dcterms:created xsi:type="dcterms:W3CDTF">2021-05-24T08:47:30Z</dcterms:created>
  <dcterms:modified xsi:type="dcterms:W3CDTF">2025-10-29T13:48:59Z</dcterms:modified>
</cp:coreProperties>
</file>